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heme/themeOverride1.xml" ContentType="application/vnd.openxmlformats-officedocument.themeOverr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autoCompressPictures="0">
  <p:sldMasterIdLst>
    <p:sldMasterId id="2147483750" r:id="rId4"/>
  </p:sldMasterIdLst>
  <p:notesMasterIdLst>
    <p:notesMasterId r:id="rId21"/>
  </p:notesMasterIdLst>
  <p:handoutMasterIdLst>
    <p:handoutMasterId r:id="rId22"/>
  </p:handoutMasterIdLst>
  <p:sldIdLst>
    <p:sldId id="265" r:id="rId5"/>
    <p:sldId id="2147476022" r:id="rId6"/>
    <p:sldId id="2147476025" r:id="rId7"/>
    <p:sldId id="2147476026" r:id="rId8"/>
    <p:sldId id="2147476024" r:id="rId9"/>
    <p:sldId id="2147476027" r:id="rId10"/>
    <p:sldId id="2147476028" r:id="rId11"/>
    <p:sldId id="2147476029" r:id="rId12"/>
    <p:sldId id="2147476030" r:id="rId13"/>
    <p:sldId id="2147476036" r:id="rId14"/>
    <p:sldId id="2147476032" r:id="rId15"/>
    <p:sldId id="2147476039" r:id="rId16"/>
    <p:sldId id="2147476040" r:id="rId17"/>
    <p:sldId id="2147476037" r:id="rId18"/>
    <p:sldId id="2147476035" r:id="rId19"/>
    <p:sldId id="2147476034" r:id="rId20"/>
  </p:sldIdLst>
  <p:sldSz cx="12192000" cy="6858000"/>
  <p:notesSz cx="6797675" cy="9926638"/>
  <p:embeddedFontLst>
    <p:embeddedFont>
      <p:font typeface="Helvetica" panose="020B0604020202020204" pitchFamily="34" charset="0"/>
      <p:regular r:id="rId23"/>
      <p:bold r:id="rId24"/>
      <p:italic r:id="rId25"/>
      <p:boldItalic r:id="rId26"/>
    </p:embeddedFont>
    <p:embeddedFont>
      <p:font typeface="TeleNeo Office" panose="020B0504040202090203" pitchFamily="34" charset="0"/>
      <p:regular r:id="rId27"/>
      <p:bold r:id="rId28"/>
      <p:italic r:id="rId29"/>
      <p:boldItalic r:id="rId30"/>
    </p:embeddedFont>
    <p:embeddedFont>
      <p:font typeface="TeleNeo Office ExtraBold" panose="020B0A04040202090203" pitchFamily="34" charset="0"/>
      <p:bold r:id="rId31"/>
      <p:italic r:id="rId32"/>
      <p:boldItalic r:id="rId33"/>
    </p:embeddedFont>
    <p:embeddedFont>
      <p:font typeface="TeleNeo Thin" panose="020B0604020202020204" charset="0"/>
      <p:regular r:id="rId34"/>
      <p:italic r:id="rId35"/>
    </p:embeddedFont>
  </p:embeddedFontLst>
  <p:custShowLst>
    <p:custShow name="Custom Show 1" id="0">
      <p:sldLst>
        <p:sld r:id="rId6"/>
      </p:sldLst>
    </p:custShow>
  </p:custShowLst>
  <p:custDataLst>
    <p:tags r:id="rId3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9" orient="horz" pos="2160" userDrawn="1">
          <p15:clr>
            <a:srgbClr val="A4A3A4"/>
          </p15:clr>
        </p15:guide>
        <p15:guide id="20" pos="3840">
          <p15:clr>
            <a:srgbClr val="A4A3A4"/>
          </p15:clr>
        </p15:guide>
        <p15:guide id="21" pos="3930" userDrawn="1">
          <p15:clr>
            <a:srgbClr val="A4A3A4"/>
          </p15:clr>
        </p15:guide>
        <p15:guide id="22" pos="374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4F8FB"/>
    <a:srgbClr val="FFFFFF"/>
    <a:srgbClr val="FFDF5F"/>
    <a:srgbClr val="CFD99B"/>
    <a:srgbClr val="FFD328"/>
    <a:srgbClr val="CFD89B"/>
    <a:srgbClr val="1BADA2"/>
    <a:srgbClr val="FFDE5F"/>
    <a:srgbClr val="FFD329"/>
    <a:srgbClr val="D4893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316" autoAdjust="0"/>
    <p:restoredTop sz="94669"/>
  </p:normalViewPr>
  <p:slideViewPr>
    <p:cSldViewPr snapToGrid="0">
      <p:cViewPr>
        <p:scale>
          <a:sx n="100" d="100"/>
          <a:sy n="100" d="100"/>
        </p:scale>
        <p:origin x="1032" y="318"/>
      </p:cViewPr>
      <p:guideLst>
        <p:guide orient="horz" pos="2160"/>
        <p:guide pos="3840"/>
        <p:guide pos="3930"/>
        <p:guide pos="3748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font" Target="fonts/font4.fntdata"/><Relationship Id="rId39" Type="http://schemas.openxmlformats.org/officeDocument/2006/relationships/theme" Target="theme/theme1.xml"/><Relationship Id="rId21" Type="http://schemas.openxmlformats.org/officeDocument/2006/relationships/notesMaster" Target="notesMasters/notesMaster1.xml"/><Relationship Id="rId34" Type="http://schemas.openxmlformats.org/officeDocument/2006/relationships/font" Target="fonts/font12.fntdata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font" Target="fonts/font3.fntdata"/><Relationship Id="rId33" Type="http://schemas.openxmlformats.org/officeDocument/2006/relationships/font" Target="fonts/font11.fntdata"/><Relationship Id="rId38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font" Target="fonts/font7.fntdata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font" Target="fonts/font2.fntdata"/><Relationship Id="rId32" Type="http://schemas.openxmlformats.org/officeDocument/2006/relationships/font" Target="fonts/font10.fntdata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font" Target="fonts/font1.fntdata"/><Relationship Id="rId28" Type="http://schemas.openxmlformats.org/officeDocument/2006/relationships/font" Target="fonts/font6.fntdata"/><Relationship Id="rId36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font" Target="fonts/font9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handoutMaster" Target="handoutMasters/handoutMaster1.xml"/><Relationship Id="rId27" Type="http://schemas.openxmlformats.org/officeDocument/2006/relationships/font" Target="fonts/font5.fntdata"/><Relationship Id="rId30" Type="http://schemas.openxmlformats.org/officeDocument/2006/relationships/font" Target="fonts/font8.fntdata"/><Relationship Id="rId35" Type="http://schemas.openxmlformats.org/officeDocument/2006/relationships/font" Target="fonts/font13.fntdata"/><Relationship Id="rId8" Type="http://schemas.openxmlformats.org/officeDocument/2006/relationships/slide" Target="slides/slide4.xml"/><Relationship Id="rId3" Type="http://schemas.openxmlformats.org/officeDocument/2006/relationships/customXml" Target="../customXml/item3.xml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CE2879F-85E3-496B-8667-A4EA32411BE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 bwMode="black">
          <a:xfrm>
            <a:off x="1614671" y="9262661"/>
            <a:ext cx="3568333" cy="39081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/>
            </a:lvl1pPr>
          </a:lstStyle>
          <a:p>
            <a:pPr algn="ctr"/>
            <a:endParaRPr lang="de-DE" sz="90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50349B1-E56A-42C1-B0A4-26B687F2FBA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 bwMode="black">
          <a:xfrm>
            <a:off x="6039404" y="9262661"/>
            <a:ext cx="285467" cy="39081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/>
            </a:lvl1pPr>
          </a:lstStyle>
          <a:p>
            <a:pPr algn="l"/>
            <a:fld id="{6F450DBC-90BB-49B2-91E4-AABCC1357725}" type="slidenum">
              <a:rPr lang="de-DE" sz="900" smtClean="0"/>
              <a:pPr algn="l"/>
              <a:t>‹#›</a:t>
            </a:fld>
            <a:endParaRPr lang="de-DE" sz="90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54E2A2C4-9FAC-4DAF-8CF2-98D0ADF211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3456"/>
          <a:stretch/>
        </p:blipFill>
        <p:spPr bwMode="black">
          <a:xfrm>
            <a:off x="384820" y="9211948"/>
            <a:ext cx="682820" cy="4922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3042720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pos="299" userDrawn="1">
          <p15:clr>
            <a:srgbClr val="F26B43"/>
          </p15:clr>
        </p15:guide>
        <p15:guide id="2" pos="3981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auto">
          <a:xfrm>
            <a:off x="306388" y="976313"/>
            <a:ext cx="3830637" cy="21558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black">
          <a:xfrm>
            <a:off x="472804" y="3556395"/>
            <a:ext cx="5846516" cy="5129415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  <a:p>
            <a:pPr lvl="4"/>
            <a:endParaRPr lang="de-DE"/>
          </a:p>
        </p:txBody>
      </p:sp>
      <p:sp>
        <p:nvSpPr>
          <p:cNvPr id="7" name="Fußzeilenplatzhalter 3">
            <a:extLst>
              <a:ext uri="{FF2B5EF4-FFF2-40B4-BE49-F238E27FC236}">
                <a16:creationId xmlns:a16="http://schemas.microsoft.com/office/drawing/2014/main" id="{95981BBF-A3AF-4657-B40E-0C891992F7E4}"/>
              </a:ext>
            </a:extLst>
          </p:cNvPr>
          <p:cNvSpPr>
            <a:spLocks noGrp="1"/>
          </p:cNvSpPr>
          <p:nvPr>
            <p:ph type="ftr" sz="quarter" idx="4"/>
          </p:nvPr>
        </p:nvSpPr>
        <p:spPr bwMode="black">
          <a:xfrm>
            <a:off x="1614671" y="9262256"/>
            <a:ext cx="3568333" cy="39081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/>
            </a:lvl1pPr>
          </a:lstStyle>
          <a:p>
            <a:pPr algn="ctr"/>
            <a:endParaRPr lang="de-DE" sz="900"/>
          </a:p>
        </p:txBody>
      </p:sp>
      <p:sp>
        <p:nvSpPr>
          <p:cNvPr id="8" name="Foliennummernplatzhalter 4">
            <a:extLst>
              <a:ext uri="{FF2B5EF4-FFF2-40B4-BE49-F238E27FC236}">
                <a16:creationId xmlns:a16="http://schemas.microsoft.com/office/drawing/2014/main" id="{C024CC59-CB8B-404F-82E2-4F59721F4CC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black">
          <a:xfrm>
            <a:off x="6039404" y="9262256"/>
            <a:ext cx="285467" cy="39081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/>
            </a:lvl1pPr>
          </a:lstStyle>
          <a:p>
            <a:pPr algn="l"/>
            <a:fld id="{6F450DBC-90BB-49B2-91E4-AABCC1357725}" type="slidenum">
              <a:rPr lang="de-DE" sz="900" smtClean="0"/>
              <a:pPr algn="l"/>
              <a:t>‹#›</a:t>
            </a:fld>
            <a:endParaRPr lang="de-DE" sz="90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4EEB4B23-29CF-4DD3-A96B-2B9F09F5475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63456"/>
          <a:stretch/>
        </p:blipFill>
        <p:spPr bwMode="black">
          <a:xfrm>
            <a:off x="384820" y="9211948"/>
            <a:ext cx="682820" cy="4922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0354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spcAft>
        <a:spcPts val="900"/>
      </a:spcAft>
      <a:buClr>
        <a:schemeClr val="tx2"/>
      </a:buClr>
      <a:buFont typeface="+mj-lt" panose="05020102010507070707" pitchFamily="18" charset="2"/>
      <a:buNone/>
      <a:defRPr sz="1200" b="0" kern="1200">
        <a:solidFill>
          <a:schemeClr val="tx1"/>
        </a:solidFill>
        <a:latin typeface="+mj-lt"/>
        <a:ea typeface="+mn-ea"/>
        <a:cs typeface="+mn-cs"/>
      </a:defRPr>
    </a:lvl1pPr>
    <a:lvl2pPr marL="0" indent="0" algn="l" defTabSz="914400" rtl="0" eaLnBrk="1" latinLnBrk="0" hangingPunct="1">
      <a:spcAft>
        <a:spcPts val="600"/>
      </a:spcAft>
      <a:buClr>
        <a:schemeClr val="tx2"/>
      </a:buClr>
      <a:buFont typeface="+mj-lt" panose="05020102010507070707" pitchFamily="18" charset="2"/>
      <a:buNone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144000" indent="-144000" algn="l" defTabSz="914400" rtl="0" eaLnBrk="1" latinLnBrk="0" hangingPunct="1">
      <a:spcAft>
        <a:spcPts val="600"/>
      </a:spcAft>
      <a:buClr>
        <a:schemeClr val="tx2"/>
      </a:buClr>
      <a:buFont typeface="TeleNeo Office" panose="020B0504040202090203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288000" indent="-144000" algn="l" defTabSz="914400" rtl="0" eaLnBrk="1" latinLnBrk="0" hangingPunct="1">
      <a:spcAft>
        <a:spcPts val="600"/>
      </a:spcAft>
      <a:buClr>
        <a:schemeClr val="tx2"/>
      </a:buClr>
      <a:buFont typeface="TeleNeo Office" panose="020B0504040202090203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432000" indent="-144000" algn="l" defTabSz="914400" rtl="0" eaLnBrk="1" latinLnBrk="0" hangingPunct="1">
      <a:spcAft>
        <a:spcPts val="600"/>
      </a:spcAft>
      <a:buClr>
        <a:schemeClr val="tx2"/>
      </a:buClr>
      <a:buFont typeface="TeleNeo Office" panose="020B0504040202090203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576000" indent="-144000" algn="l" defTabSz="914400" rtl="0" eaLnBrk="1" latinLnBrk="0" hangingPunct="1">
      <a:spcAft>
        <a:spcPts val="600"/>
      </a:spcAft>
      <a:buClr>
        <a:schemeClr val="tx2"/>
      </a:buClr>
      <a:buFont typeface="TeleNeo Office" panose="020B0504040202090203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720000" indent="-144000" algn="l" defTabSz="914400" rtl="0" eaLnBrk="1" latinLnBrk="0" hangingPunct="1">
      <a:spcAft>
        <a:spcPts val="600"/>
      </a:spcAft>
      <a:buClr>
        <a:schemeClr val="tx2"/>
      </a:buClr>
      <a:buFont typeface="TeleNeo Office" panose="020B0504040202090203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864000" indent="-144000" algn="l" defTabSz="914400" rtl="0" eaLnBrk="1" latinLnBrk="0" hangingPunct="1">
      <a:spcAft>
        <a:spcPts val="600"/>
      </a:spcAft>
      <a:buClr>
        <a:schemeClr val="tx2"/>
      </a:buClr>
      <a:buFont typeface="TeleNeo Office" panose="020B0504040202090203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1008000" indent="-144000" algn="l" defTabSz="914400" rtl="0" eaLnBrk="1" latinLnBrk="0" hangingPunct="1">
      <a:spcAft>
        <a:spcPts val="600"/>
      </a:spcAft>
      <a:buClr>
        <a:schemeClr val="tx2"/>
      </a:buClr>
      <a:buFont typeface="TeleNeo Office" panose="020B0504040202090203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/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/>
            <a:fld id="{6F450DBC-90BB-49B2-91E4-AABCC1357725}" type="slidenum">
              <a:rPr lang="de-DE" sz="900" smtClean="0"/>
              <a:pPr algn="l"/>
              <a:t>1</a:t>
            </a:fld>
            <a:endParaRPr lang="de-DE" sz="900"/>
          </a:p>
        </p:txBody>
      </p:sp>
    </p:spTree>
    <p:extLst>
      <p:ext uri="{BB962C8B-B14F-4D97-AF65-F5344CB8AC3E}">
        <p14:creationId xmlns:p14="http://schemas.microsoft.com/office/powerpoint/2010/main" val="13038450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12.jpeg"/><Relationship Id="rId4" Type="http://schemas.openxmlformats.org/officeDocument/2006/relationships/image" Target="../media/image11.emf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svg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3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emf"/><Relationship Id="rId4" Type="http://schemas.openxmlformats.org/officeDocument/2006/relationships/image" Target="../media/image7.png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 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CC0DADF7-F3C5-E507-D9B8-14AC3297E8A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Bildplatzhalter 8">
            <a:extLst>
              <a:ext uri="{FF2B5EF4-FFF2-40B4-BE49-F238E27FC236}">
                <a16:creationId xmlns:a16="http://schemas.microsoft.com/office/drawing/2014/main" id="{F4EDC520-2258-154A-BE9D-E07DDEB4387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85999" y="5833800"/>
            <a:ext cx="3585600" cy="4680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855CF3A-8745-495B-9FFE-CE92A5F4D68B}"/>
              </a:ext>
            </a:extLst>
          </p:cNvPr>
          <p:cNvSpPr>
            <a:spLocks noGrp="1"/>
          </p:cNvSpPr>
          <p:nvPr>
            <p:ph type="ctrTitle"/>
          </p:nvPr>
        </p:nvSpPr>
        <p:spPr bwMode="black">
          <a:xfrm>
            <a:off x="478800" y="1988840"/>
            <a:ext cx="6336000" cy="1944000"/>
          </a:xfrm>
        </p:spPr>
        <p:txBody>
          <a:bodyPr lIns="0" anchor="b"/>
          <a:lstStyle>
            <a:lvl1pPr algn="l"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931B0A1-8DE4-4F87-9296-AE72B35697A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78800" y="4112840"/>
            <a:ext cx="5472000" cy="504000"/>
          </a:xfrm>
        </p:spPr>
        <p:txBody>
          <a:bodyPr lIns="0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9pPr>
          </a:lstStyle>
          <a:p>
            <a:r>
              <a:rPr lang="de-DE"/>
              <a:t>Untertitel | Autor*in | Ort | Datum</a:t>
            </a:r>
          </a:p>
        </p:txBody>
      </p:sp>
    </p:spTree>
    <p:extLst>
      <p:ext uri="{BB962C8B-B14F-4D97-AF65-F5344CB8AC3E}">
        <p14:creationId xmlns:p14="http://schemas.microsoft.com/office/powerpoint/2010/main" val="423563835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Kapiteltrenn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2ECFDAAD-677A-54DC-06B2-7EA05A683A4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Titel 1">
            <a:extLst>
              <a:ext uri="{FF2B5EF4-FFF2-40B4-BE49-F238E27FC236}">
                <a16:creationId xmlns:a16="http://schemas.microsoft.com/office/drawing/2014/main" id="{D93D7315-75F4-7A7C-FD0D-546488E59622}"/>
              </a:ext>
            </a:extLst>
          </p:cNvPr>
          <p:cNvSpPr txBox="1">
            <a:spLocks/>
          </p:cNvSpPr>
          <p:nvPr userDrawn="1"/>
        </p:nvSpPr>
        <p:spPr bwMode="gray">
          <a:xfrm>
            <a:off x="479872" y="1628800"/>
            <a:ext cx="1367607" cy="122393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9600">
                <a:solidFill>
                  <a:schemeClr val="bg1"/>
                </a:solidFill>
                <a:latin typeface="TeleNeo Thin" panose="020B0204040202090203" pitchFamily="34" charset="77"/>
              </a:rPr>
              <a:t>01</a:t>
            </a:r>
          </a:p>
        </p:txBody>
      </p:sp>
      <p:sp>
        <p:nvSpPr>
          <p:cNvPr id="5" name="Untertitel 3">
            <a:extLst>
              <a:ext uri="{FF2B5EF4-FFF2-40B4-BE49-F238E27FC236}">
                <a16:creationId xmlns:a16="http://schemas.microsoft.com/office/drawing/2014/main" id="{C7A3B682-FBBB-00AB-80D6-EA0700D4C53E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52153" y="2817032"/>
            <a:ext cx="6623967" cy="1223936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0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sz="4400">
              <a:solidFill>
                <a:schemeClr val="bg1"/>
              </a:solidFill>
            </a:endParaRPr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F25BBEDD-FF14-0856-09DE-7F60BFBA5630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573262" y="3069000"/>
            <a:ext cx="5616575" cy="720000"/>
          </a:xfrm>
        </p:spPr>
        <p:txBody>
          <a:bodyPr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93128833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2ECFDAAD-677A-54DC-06B2-7EA05A683A4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78830D87-D07A-43A8-A980-AB5EBED7AB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79425" y="405000"/>
            <a:ext cx="5616575" cy="72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14564200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6EFC226-BB11-4405-967C-3564772CC2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 anchor="t">
            <a:noAutofit/>
          </a:bodyPr>
          <a:lstStyle>
            <a:lvl1pPr>
              <a:defRPr/>
            </a:lvl1pPr>
          </a:lstStyle>
          <a:p>
            <a:r>
              <a:rPr lang="de-DE"/>
              <a:t>Überschrift einzeilig </a:t>
            </a:r>
            <a:r>
              <a:rPr lang="de-DE" err="1"/>
              <a:t>40pt</a:t>
            </a:r>
            <a:r>
              <a:rPr lang="de-DE"/>
              <a:t> (zweizeilig </a:t>
            </a:r>
            <a:r>
              <a:rPr lang="de-DE" err="1"/>
              <a:t>24pt</a:t>
            </a:r>
            <a:r>
              <a:rPr lang="de-DE"/>
              <a:t>)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46B59290-87BC-4AFB-854D-B3809A4D23C4}"/>
              </a:ext>
            </a:extLst>
          </p:cNvPr>
          <p:cNvSpPr>
            <a:spLocks noGrp="1"/>
          </p:cNvSpPr>
          <p:nvPr>
            <p:ph sz="quarter" idx="12"/>
          </p:nvPr>
        </p:nvSpPr>
        <p:spPr bwMode="gray"/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D0BFB8A3-13A1-E441-8AAB-F55AD870CBA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478800" y="6453000"/>
            <a:ext cx="9326146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 kern="900" baseline="0">
                <a:solidFill>
                  <a:schemeClr val="tx1"/>
                </a:solidFill>
              </a:defRPr>
            </a:lvl1pPr>
          </a:lstStyle>
          <a:p>
            <a:r>
              <a:rPr lang="de-DE"/>
              <a:t>T-Systems India - Digital Solutions </a:t>
            </a:r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4767C752-AA24-774D-9597-350B152A86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11442000" y="6453000"/>
            <a:ext cx="252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A1A5E10D-79A5-49BA-9648-53481340C65F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4399559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6EFC226-BB11-4405-967C-3564772CC2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 anchor="t">
            <a:noAutofit/>
          </a:bodyPr>
          <a:lstStyle>
            <a:lvl1pPr>
              <a:defRPr/>
            </a:lvl1pPr>
          </a:lstStyle>
          <a:p>
            <a:r>
              <a:rPr lang="de-DE"/>
              <a:t>Überschrift einzeilig </a:t>
            </a:r>
            <a:r>
              <a:rPr lang="de-DE" err="1"/>
              <a:t>40pt</a:t>
            </a:r>
            <a:r>
              <a:rPr lang="de-DE"/>
              <a:t> (zweizeilig </a:t>
            </a:r>
            <a:r>
              <a:rPr lang="de-DE" err="1"/>
              <a:t>24pt</a:t>
            </a:r>
            <a:r>
              <a:rPr lang="de-DE"/>
              <a:t>)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B159EBD-37DC-4B44-889A-8EFC900C81D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478800" y="6453000"/>
            <a:ext cx="9326146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 kern="900" baseline="0">
                <a:solidFill>
                  <a:schemeClr val="tx1"/>
                </a:solidFill>
              </a:defRPr>
            </a:lvl1pPr>
          </a:lstStyle>
          <a:p>
            <a:r>
              <a:rPr lang="de-DE"/>
              <a:t>T-Systems India - Digital Solutions </a:t>
            </a:r>
          </a:p>
        </p:txBody>
      </p:sp>
      <p:sp>
        <p:nvSpPr>
          <p:cNvPr id="7" name="Foliennummernplatzhalter 5">
            <a:extLst>
              <a:ext uri="{FF2B5EF4-FFF2-40B4-BE49-F238E27FC236}">
                <a16:creationId xmlns:a16="http://schemas.microsoft.com/office/drawing/2014/main" id="{ED8BDE15-B3DB-7E4A-AA8F-2813E89C445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11442000" y="6453000"/>
            <a:ext cx="252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A1A5E10D-79A5-49BA-9648-53481340C65F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2815885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A2FAEC5B-CA5D-A3AF-F888-1AA14ED2C9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33875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2FAEC5B-CA5D-A3AF-F888-1AA14ED2C9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A white background with lines&#10;&#10;Description automatically generated">
            <a:extLst>
              <a:ext uri="{FF2B5EF4-FFF2-40B4-BE49-F238E27FC236}">
                <a16:creationId xmlns:a16="http://schemas.microsoft.com/office/drawing/2014/main" id="{6F94D434-99EC-188C-C859-D2C96CC9F95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alphaModFix amt="65000"/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56EFC226-BB11-4405-967C-3564772CC2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 vert="horz" anchor="t">
            <a:noAutofit/>
          </a:bodyPr>
          <a:lstStyle>
            <a:lvl1pPr>
              <a:defRPr sz="3200"/>
            </a:lvl1pPr>
          </a:lstStyle>
          <a:p>
            <a:r>
              <a:rPr lang="de-DE"/>
              <a:t>Überschrift einzeilig 40pt (zweizeilig 24pt)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B159EBD-37DC-4B44-889A-8EFC900C81D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478800" y="6453000"/>
            <a:ext cx="9326146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 kern="900" baseline="0">
                <a:solidFill>
                  <a:schemeClr val="tx1"/>
                </a:solidFill>
              </a:defRPr>
            </a:lvl1pPr>
          </a:lstStyle>
          <a:p>
            <a:r>
              <a:rPr lang="de-DE"/>
              <a:t>T-Systems India - Digital Solutions </a:t>
            </a:r>
          </a:p>
        </p:txBody>
      </p:sp>
      <p:sp>
        <p:nvSpPr>
          <p:cNvPr id="7" name="Foliennummernplatzhalter 5">
            <a:extLst>
              <a:ext uri="{FF2B5EF4-FFF2-40B4-BE49-F238E27FC236}">
                <a16:creationId xmlns:a16="http://schemas.microsoft.com/office/drawing/2014/main" id="{ED8BDE15-B3DB-7E4A-AA8F-2813E89C445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11442000" y="6453000"/>
            <a:ext cx="252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A1A5E10D-79A5-49BA-9648-53481340C65F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2184238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A425B95-45FB-1045-A813-D4C7943A82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478800" y="6453000"/>
            <a:ext cx="9326146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 kern="900" baseline="0">
                <a:solidFill>
                  <a:schemeClr val="tx1"/>
                </a:solidFill>
              </a:defRPr>
            </a:lvl1pPr>
          </a:lstStyle>
          <a:p>
            <a:r>
              <a:rPr lang="de-DE"/>
              <a:t>T-Systems India - Digital Solutions 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F9914B4-2DC7-EE47-A93E-DB731E11490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11442000" y="6453000"/>
            <a:ext cx="252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A1A5E10D-79A5-49BA-9648-53481340C65F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42255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33E96A5-93EA-451A-88A2-0C4325907D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78800" y="405000"/>
            <a:ext cx="11209946" cy="720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de-DE"/>
              <a:t>Überschrift einzeilig </a:t>
            </a:r>
            <a:r>
              <a:rPr lang="de-DE" err="1"/>
              <a:t>40pt</a:t>
            </a:r>
            <a:r>
              <a:rPr lang="de-DE"/>
              <a:t> (zweizeilig </a:t>
            </a:r>
            <a:r>
              <a:rPr lang="de-DE" err="1"/>
              <a:t>24pt</a:t>
            </a:r>
            <a:r>
              <a:rPr lang="de-DE"/>
              <a:t>)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E5D6AE95-30E2-4E14-9028-628793137D1D}"/>
              </a:ext>
            </a:extLst>
          </p:cNvPr>
          <p:cNvSpPr>
            <a:spLocks noGrp="1"/>
          </p:cNvSpPr>
          <p:nvPr>
            <p:ph sz="quarter" idx="12"/>
          </p:nvPr>
        </p:nvSpPr>
        <p:spPr bwMode="gray">
          <a:xfrm>
            <a:off x="478800" y="1484313"/>
            <a:ext cx="5453984" cy="4752000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20BABE80-E0D1-46E7-8B60-730D1088E23E}"/>
              </a:ext>
            </a:extLst>
          </p:cNvPr>
          <p:cNvSpPr>
            <a:spLocks noGrp="1"/>
          </p:cNvSpPr>
          <p:nvPr>
            <p:ph sz="quarter" idx="13"/>
          </p:nvPr>
        </p:nvSpPr>
        <p:spPr bwMode="gray">
          <a:xfrm>
            <a:off x="6114000" y="1483726"/>
            <a:ext cx="5453984" cy="4752000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66DC2B83-C464-8548-B853-B8751DEE120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478800" y="6453000"/>
            <a:ext cx="9326146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 kern="900" baseline="0">
                <a:solidFill>
                  <a:schemeClr val="tx1"/>
                </a:solidFill>
              </a:defRPr>
            </a:lvl1pPr>
          </a:lstStyle>
          <a:p>
            <a:r>
              <a:rPr lang="de-DE"/>
              <a:t>T-Systems India - Digital Solutions </a:t>
            </a:r>
          </a:p>
        </p:txBody>
      </p:sp>
      <p:sp>
        <p:nvSpPr>
          <p:cNvPr id="11" name="Foliennummernplatzhalter 5">
            <a:extLst>
              <a:ext uri="{FF2B5EF4-FFF2-40B4-BE49-F238E27FC236}">
                <a16:creationId xmlns:a16="http://schemas.microsoft.com/office/drawing/2014/main" id="{8005A55A-5D2C-5448-A507-2B52A5217A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11442000" y="6453000"/>
            <a:ext cx="252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A1A5E10D-79A5-49BA-9648-53481340C65F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799861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4CF5EE6-FFD8-44FD-9C80-95B68F34D2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78800" y="405000"/>
            <a:ext cx="11209946" cy="720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de-DE"/>
              <a:t>Überschrift einzeilig </a:t>
            </a:r>
            <a:r>
              <a:rPr lang="de-DE" err="1"/>
              <a:t>40pt</a:t>
            </a:r>
            <a:r>
              <a:rPr lang="de-DE"/>
              <a:t> (zweizeilig </a:t>
            </a:r>
            <a:r>
              <a:rPr lang="de-DE" err="1"/>
              <a:t>24pt</a:t>
            </a:r>
            <a:r>
              <a:rPr lang="de-DE"/>
              <a:t>)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2422070A-7303-4B7F-93D4-191685839B59}"/>
              </a:ext>
            </a:extLst>
          </p:cNvPr>
          <p:cNvSpPr>
            <a:spLocks noGrp="1"/>
          </p:cNvSpPr>
          <p:nvPr>
            <p:ph sz="quarter" idx="12"/>
          </p:nvPr>
        </p:nvSpPr>
        <p:spPr bwMode="black">
          <a:xfrm>
            <a:off x="478800" y="1484313"/>
            <a:ext cx="3600575" cy="4752000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1" name="Inhaltsplatzhalter 10">
            <a:extLst>
              <a:ext uri="{FF2B5EF4-FFF2-40B4-BE49-F238E27FC236}">
                <a16:creationId xmlns:a16="http://schemas.microsoft.com/office/drawing/2014/main" id="{7D9598B6-CEA7-42C6-8376-9C8FFAD9B4C1}"/>
              </a:ext>
            </a:extLst>
          </p:cNvPr>
          <p:cNvSpPr>
            <a:spLocks noGrp="1"/>
          </p:cNvSpPr>
          <p:nvPr>
            <p:ph sz="quarter" idx="13"/>
          </p:nvPr>
        </p:nvSpPr>
        <p:spPr bwMode="black">
          <a:xfrm>
            <a:off x="4223425" y="1484313"/>
            <a:ext cx="3600575" cy="4752000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3" name="Inhaltsplatzhalter 12">
            <a:extLst>
              <a:ext uri="{FF2B5EF4-FFF2-40B4-BE49-F238E27FC236}">
                <a16:creationId xmlns:a16="http://schemas.microsoft.com/office/drawing/2014/main" id="{508F3AD6-ECB1-46C4-8C4D-7E86183245A7}"/>
              </a:ext>
            </a:extLst>
          </p:cNvPr>
          <p:cNvSpPr>
            <a:spLocks noGrp="1"/>
          </p:cNvSpPr>
          <p:nvPr>
            <p:ph sz="quarter" idx="14"/>
          </p:nvPr>
        </p:nvSpPr>
        <p:spPr bwMode="black">
          <a:xfrm>
            <a:off x="7967425" y="1484313"/>
            <a:ext cx="3600575" cy="4752000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9" name="Fußzeilenplatzhalter 4">
            <a:extLst>
              <a:ext uri="{FF2B5EF4-FFF2-40B4-BE49-F238E27FC236}">
                <a16:creationId xmlns:a16="http://schemas.microsoft.com/office/drawing/2014/main" id="{54FFA8FD-DF30-DB4C-95C3-B236789F47E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478800" y="6453000"/>
            <a:ext cx="9326146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 kern="900" baseline="0">
                <a:solidFill>
                  <a:schemeClr val="tx1"/>
                </a:solidFill>
              </a:defRPr>
            </a:lvl1pPr>
          </a:lstStyle>
          <a:p>
            <a:r>
              <a:rPr lang="de-DE"/>
              <a:t>T-Systems India - Digital Solutions </a:t>
            </a:r>
          </a:p>
        </p:txBody>
      </p:sp>
      <p:sp>
        <p:nvSpPr>
          <p:cNvPr id="10" name="Foliennummernplatzhalter 5">
            <a:extLst>
              <a:ext uri="{FF2B5EF4-FFF2-40B4-BE49-F238E27FC236}">
                <a16:creationId xmlns:a16="http://schemas.microsoft.com/office/drawing/2014/main" id="{969C899A-3A81-3D49-BD5A-0DAC790844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11442000" y="6453000"/>
            <a:ext cx="252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A1A5E10D-79A5-49BA-9648-53481340C65F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295769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4BE4F56-CAAF-476E-A2B9-F1A0D25C8BAC}"/>
              </a:ext>
            </a:extLst>
          </p:cNvPr>
          <p:cNvSpPr>
            <a:spLocks noGrp="1"/>
          </p:cNvSpPr>
          <p:nvPr>
            <p:ph type="title" sz="quarter" hasCustomPrompt="1"/>
          </p:nvPr>
        </p:nvSpPr>
        <p:spPr bwMode="black">
          <a:xfrm>
            <a:off x="478800" y="405000"/>
            <a:ext cx="11209946" cy="720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de-DE"/>
              <a:t>Überschrift einzeilig </a:t>
            </a:r>
            <a:r>
              <a:rPr lang="de-DE" err="1"/>
              <a:t>40pt</a:t>
            </a:r>
            <a:r>
              <a:rPr lang="de-DE"/>
              <a:t> (zweizeilig </a:t>
            </a:r>
            <a:r>
              <a:rPr lang="de-DE" err="1"/>
              <a:t>24pt</a:t>
            </a:r>
            <a:r>
              <a:rPr lang="de-DE"/>
              <a:t>)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4B6057D-AA55-47BF-A331-2E2648C311B9}"/>
              </a:ext>
            </a:extLst>
          </p:cNvPr>
          <p:cNvSpPr>
            <a:spLocks noGrp="1"/>
          </p:cNvSpPr>
          <p:nvPr>
            <p:ph sz="quarter" idx="12"/>
          </p:nvPr>
        </p:nvSpPr>
        <p:spPr bwMode="black">
          <a:xfrm>
            <a:off x="478800" y="1484313"/>
            <a:ext cx="2664575" cy="4752000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7D73B4FC-B74D-4CE7-B959-B58A486BFB4A}"/>
              </a:ext>
            </a:extLst>
          </p:cNvPr>
          <p:cNvSpPr>
            <a:spLocks noGrp="1"/>
          </p:cNvSpPr>
          <p:nvPr>
            <p:ph sz="quarter" idx="13"/>
          </p:nvPr>
        </p:nvSpPr>
        <p:spPr bwMode="black">
          <a:xfrm>
            <a:off x="3287425" y="1484313"/>
            <a:ext cx="2664575" cy="4752000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5C02444F-BCE5-47EE-A8CF-C44F258655A7}"/>
              </a:ext>
            </a:extLst>
          </p:cNvPr>
          <p:cNvSpPr>
            <a:spLocks noGrp="1"/>
          </p:cNvSpPr>
          <p:nvPr>
            <p:ph sz="quarter" idx="14"/>
          </p:nvPr>
        </p:nvSpPr>
        <p:spPr bwMode="black">
          <a:xfrm>
            <a:off x="6095425" y="1484313"/>
            <a:ext cx="2664575" cy="4752000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4" name="Inhaltsplatzhalter 13">
            <a:extLst>
              <a:ext uri="{FF2B5EF4-FFF2-40B4-BE49-F238E27FC236}">
                <a16:creationId xmlns:a16="http://schemas.microsoft.com/office/drawing/2014/main" id="{747D8B36-797B-4379-B1D3-EFD569BF81EF}"/>
              </a:ext>
            </a:extLst>
          </p:cNvPr>
          <p:cNvSpPr>
            <a:spLocks noGrp="1"/>
          </p:cNvSpPr>
          <p:nvPr>
            <p:ph sz="quarter" idx="15"/>
          </p:nvPr>
        </p:nvSpPr>
        <p:spPr bwMode="black">
          <a:xfrm>
            <a:off x="8903425" y="1484313"/>
            <a:ext cx="2664575" cy="4752000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1" name="Fußzeilenplatzhalter 4">
            <a:extLst>
              <a:ext uri="{FF2B5EF4-FFF2-40B4-BE49-F238E27FC236}">
                <a16:creationId xmlns:a16="http://schemas.microsoft.com/office/drawing/2014/main" id="{4B858102-E82B-0E45-91EA-2D391B118D0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478800" y="6453000"/>
            <a:ext cx="9326146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 kern="900" baseline="0">
                <a:solidFill>
                  <a:schemeClr val="tx1"/>
                </a:solidFill>
              </a:defRPr>
            </a:lvl1pPr>
          </a:lstStyle>
          <a:p>
            <a:r>
              <a:rPr lang="de-DE"/>
              <a:t>T-Systems India - Digital Solutions </a:t>
            </a:r>
          </a:p>
        </p:txBody>
      </p:sp>
      <p:sp>
        <p:nvSpPr>
          <p:cNvPr id="12" name="Foliennummernplatzhalter 5">
            <a:extLst>
              <a:ext uri="{FF2B5EF4-FFF2-40B4-BE49-F238E27FC236}">
                <a16:creationId xmlns:a16="http://schemas.microsoft.com/office/drawing/2014/main" id="{A6165899-3423-8E4D-BD64-B8AD65DA212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11442000" y="6453000"/>
            <a:ext cx="252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A1A5E10D-79A5-49BA-9648-53481340C65F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9649911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93F1334-0C30-417F-8C36-14E54C69E5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>
            <a:noAutofit/>
          </a:bodyPr>
          <a:lstStyle>
            <a:lvl1pPr>
              <a:defRPr/>
            </a:lvl1pPr>
          </a:lstStyle>
          <a:p>
            <a:r>
              <a:rPr lang="de-DE"/>
              <a:t>Überschrift einzeilig </a:t>
            </a:r>
            <a:r>
              <a:rPr lang="de-DE" err="1"/>
              <a:t>40pt</a:t>
            </a:r>
            <a:r>
              <a:rPr lang="de-DE"/>
              <a:t> (zweizeilig </a:t>
            </a:r>
            <a:r>
              <a:rPr lang="de-DE" err="1"/>
              <a:t>24pt</a:t>
            </a:r>
            <a:r>
              <a:rPr lang="de-DE"/>
              <a:t>)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2390C6A2-43FF-4452-B80E-84686F69C3A3}"/>
              </a:ext>
            </a:extLst>
          </p:cNvPr>
          <p:cNvSpPr>
            <a:spLocks noGrp="1"/>
          </p:cNvSpPr>
          <p:nvPr>
            <p:ph sz="quarter" idx="12"/>
          </p:nvPr>
        </p:nvSpPr>
        <p:spPr bwMode="black">
          <a:xfrm>
            <a:off x="479425" y="1484588"/>
            <a:ext cx="5472559" cy="4752000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3F103CA9-8AD6-4544-B697-066657410F7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478800" y="6453000"/>
            <a:ext cx="9326146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 kern="900" baseline="0">
                <a:solidFill>
                  <a:schemeClr val="tx1"/>
                </a:solidFill>
              </a:defRPr>
            </a:lvl1pPr>
          </a:lstStyle>
          <a:p>
            <a:r>
              <a:rPr lang="de-DE"/>
              <a:t>T-Systems India - Digital Solutions </a:t>
            </a:r>
          </a:p>
        </p:txBody>
      </p:sp>
      <p:sp>
        <p:nvSpPr>
          <p:cNvPr id="11" name="Foliennummernplatzhalter 5">
            <a:extLst>
              <a:ext uri="{FF2B5EF4-FFF2-40B4-BE49-F238E27FC236}">
                <a16:creationId xmlns:a16="http://schemas.microsoft.com/office/drawing/2014/main" id="{A3B185D1-49A3-7546-950C-C093993A8B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11442000" y="6453000"/>
            <a:ext cx="252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A1A5E10D-79A5-49BA-9648-53481340C65F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3" name="Bildplatzhalter 9">
            <a:extLst>
              <a:ext uri="{FF2B5EF4-FFF2-40B4-BE49-F238E27FC236}">
                <a16:creationId xmlns:a16="http://schemas.microsoft.com/office/drawing/2014/main" id="{0DE0DDC8-3A1C-0B81-7816-706940B506A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6078476" y="1484313"/>
            <a:ext cx="6114740" cy="4752000"/>
          </a:xfrm>
        </p:spPr>
        <p:txBody>
          <a:bodyPr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tabLst>
                <a:tab pos="2687638" algn="l"/>
              </a:tabLst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4"/>
            <a:r>
              <a:rPr lang="de-DE"/>
              <a:t>Bild einfügen</a:t>
            </a:r>
          </a:p>
        </p:txBody>
      </p:sp>
    </p:spTree>
    <p:extLst>
      <p:ext uri="{BB962C8B-B14F-4D97-AF65-F5344CB8AC3E}">
        <p14:creationId xmlns:p14="http://schemas.microsoft.com/office/powerpoint/2010/main" val="81007130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el 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0B7E4FDE-08EB-688D-3B48-1A6363AF29C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Bildplatzhalter 8">
            <a:extLst>
              <a:ext uri="{FF2B5EF4-FFF2-40B4-BE49-F238E27FC236}">
                <a16:creationId xmlns:a16="http://schemas.microsoft.com/office/drawing/2014/main" id="{F4EDC520-2258-154A-BE9D-E07DDEB4387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303200" y="5833800"/>
            <a:ext cx="3585600" cy="4680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855CF3A-8745-495B-9FFE-CE92A5F4D68B}"/>
              </a:ext>
            </a:extLst>
          </p:cNvPr>
          <p:cNvSpPr>
            <a:spLocks noGrp="1"/>
          </p:cNvSpPr>
          <p:nvPr>
            <p:ph type="ctrTitle"/>
          </p:nvPr>
        </p:nvSpPr>
        <p:spPr bwMode="black">
          <a:xfrm>
            <a:off x="478799" y="1988840"/>
            <a:ext cx="11233775" cy="1944000"/>
          </a:xfrm>
        </p:spPr>
        <p:txBody>
          <a:bodyPr lIns="0" anchor="ctr" anchorCtr="1"/>
          <a:lstStyle>
            <a:lvl1pPr algn="l"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931B0A1-8DE4-4F87-9296-AE72B35697A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78800" y="4112840"/>
            <a:ext cx="11233774" cy="504000"/>
          </a:xfrm>
        </p:spPr>
        <p:txBody>
          <a:bodyPr lIns="0" anchor="ctr" anchorCtr="1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9pPr>
          </a:lstStyle>
          <a:p>
            <a:r>
              <a:rPr lang="de-DE"/>
              <a:t>Untertitel | Autor*in | Ort | Datum</a:t>
            </a:r>
          </a:p>
        </p:txBody>
      </p:sp>
    </p:spTree>
    <p:extLst>
      <p:ext uri="{BB962C8B-B14F-4D97-AF65-F5344CB8AC3E}">
        <p14:creationId xmlns:p14="http://schemas.microsoft.com/office/powerpoint/2010/main" val="108208752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halt mit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9">
            <a:extLst>
              <a:ext uri="{FF2B5EF4-FFF2-40B4-BE49-F238E27FC236}">
                <a16:creationId xmlns:a16="http://schemas.microsoft.com/office/drawing/2014/main" id="{0368C5BA-50D6-F8E7-2DE7-A0AA8E4218D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7824192" y="0"/>
            <a:ext cx="4369024" cy="6858000"/>
          </a:xfrm>
        </p:spPr>
        <p:txBody>
          <a:bodyPr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tabLst>
                <a:tab pos="2687638" algn="l"/>
              </a:tabLst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4"/>
            <a:r>
              <a:rPr lang="de-DE"/>
              <a:t>Bild ein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93F1334-0C30-417F-8C36-14E54C69E5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78800" y="405000"/>
            <a:ext cx="7128743" cy="720000"/>
          </a:xfrm>
        </p:spPr>
        <p:txBody>
          <a:bodyPr>
            <a:noAutofit/>
          </a:bodyPr>
          <a:lstStyle>
            <a:lvl1pPr>
              <a:defRPr sz="2400"/>
            </a:lvl1pPr>
          </a:lstStyle>
          <a:p>
            <a:r>
              <a:rPr lang="de-DE"/>
              <a:t>Überschrift zweizeilig 24pt</a:t>
            </a:r>
            <a:br>
              <a:rPr lang="de-DE"/>
            </a:br>
            <a:r>
              <a:rPr lang="de-DE"/>
              <a:t>Überschrift zweizeilig 24pt Überschrift zweizeilig 24pt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2390C6A2-43FF-4452-B80E-84686F69C3A3}"/>
              </a:ext>
            </a:extLst>
          </p:cNvPr>
          <p:cNvSpPr>
            <a:spLocks noGrp="1"/>
          </p:cNvSpPr>
          <p:nvPr>
            <p:ph sz="quarter" idx="12"/>
          </p:nvPr>
        </p:nvSpPr>
        <p:spPr bwMode="black">
          <a:xfrm>
            <a:off x="479425" y="1484588"/>
            <a:ext cx="7128743" cy="4752000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3F103CA9-8AD6-4544-B697-066657410F7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478800" y="6453000"/>
            <a:ext cx="9326146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 kern="900" baseline="0">
                <a:solidFill>
                  <a:schemeClr val="tx1"/>
                </a:solidFill>
              </a:defRPr>
            </a:lvl1pPr>
          </a:lstStyle>
          <a:p>
            <a:r>
              <a:rPr lang="de-DE"/>
              <a:t>T-Systems India - Digital Solutions </a:t>
            </a:r>
          </a:p>
        </p:txBody>
      </p:sp>
      <p:sp>
        <p:nvSpPr>
          <p:cNvPr id="11" name="Foliennummernplatzhalter 5">
            <a:extLst>
              <a:ext uri="{FF2B5EF4-FFF2-40B4-BE49-F238E27FC236}">
                <a16:creationId xmlns:a16="http://schemas.microsoft.com/office/drawing/2014/main" id="{A3B185D1-49A3-7546-950C-C093993A8B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11442000" y="6453000"/>
            <a:ext cx="252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A1A5E10D-79A5-49BA-9648-53481340C65F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3816437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nhalt mit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9">
            <a:extLst>
              <a:ext uri="{FF2B5EF4-FFF2-40B4-BE49-F238E27FC236}">
                <a16:creationId xmlns:a16="http://schemas.microsoft.com/office/drawing/2014/main" id="{10749D59-B86D-D4A0-AAFA-48A00F19AEE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7104112" y="0"/>
            <a:ext cx="5089104" cy="6858000"/>
          </a:xfrm>
        </p:spPr>
        <p:txBody>
          <a:bodyPr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tabLst>
                <a:tab pos="2687638" algn="l"/>
              </a:tabLst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4"/>
            <a:r>
              <a:rPr lang="de-DE"/>
              <a:t>Bild ein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93F1334-0C30-417F-8C36-14E54C69E5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78800" y="405000"/>
            <a:ext cx="6409288" cy="720000"/>
          </a:xfrm>
        </p:spPr>
        <p:txBody>
          <a:bodyPr>
            <a:noAutofit/>
          </a:bodyPr>
          <a:lstStyle>
            <a:lvl1pPr>
              <a:defRPr sz="2400"/>
            </a:lvl1pPr>
          </a:lstStyle>
          <a:p>
            <a:r>
              <a:rPr lang="de-DE"/>
              <a:t>Überschrift zweizeilig 24pt</a:t>
            </a:r>
            <a:br>
              <a:rPr lang="de-DE"/>
            </a:br>
            <a:r>
              <a:rPr lang="de-DE"/>
              <a:t>Überschrift zweizeilig 24pt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2390C6A2-43FF-4452-B80E-84686F69C3A3}"/>
              </a:ext>
            </a:extLst>
          </p:cNvPr>
          <p:cNvSpPr>
            <a:spLocks noGrp="1"/>
          </p:cNvSpPr>
          <p:nvPr>
            <p:ph sz="quarter" idx="12"/>
          </p:nvPr>
        </p:nvSpPr>
        <p:spPr bwMode="black">
          <a:xfrm>
            <a:off x="479425" y="1484588"/>
            <a:ext cx="6409288" cy="4752000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3F103CA9-8AD6-4544-B697-066657410F7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478800" y="6453000"/>
            <a:ext cx="9326146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 kern="900" baseline="0">
                <a:solidFill>
                  <a:schemeClr val="tx1"/>
                </a:solidFill>
              </a:defRPr>
            </a:lvl1pPr>
          </a:lstStyle>
          <a:p>
            <a:r>
              <a:rPr lang="de-DE"/>
              <a:t>T-Systems India - Digital Solutions </a:t>
            </a:r>
          </a:p>
        </p:txBody>
      </p:sp>
      <p:sp>
        <p:nvSpPr>
          <p:cNvPr id="11" name="Foliennummernplatzhalter 5">
            <a:extLst>
              <a:ext uri="{FF2B5EF4-FFF2-40B4-BE49-F238E27FC236}">
                <a16:creationId xmlns:a16="http://schemas.microsoft.com/office/drawing/2014/main" id="{A3B185D1-49A3-7546-950C-C093993A8B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11442000" y="6453000"/>
            <a:ext cx="252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A1A5E10D-79A5-49BA-9648-53481340C65F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4355130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6902E79-B5C3-4A51-9C68-88010755DD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>
            <a:noAutofit/>
          </a:bodyPr>
          <a:lstStyle>
            <a:lvl1pPr>
              <a:defRPr/>
            </a:lvl1pPr>
          </a:lstStyle>
          <a:p>
            <a:r>
              <a:rPr lang="de-DE"/>
              <a:t>Überschrift einzeilig </a:t>
            </a:r>
            <a:r>
              <a:rPr lang="de-DE" err="1"/>
              <a:t>40pt</a:t>
            </a:r>
            <a:r>
              <a:rPr lang="de-DE"/>
              <a:t> (zweizeilig </a:t>
            </a:r>
            <a:r>
              <a:rPr lang="de-DE" err="1"/>
              <a:t>24pt</a:t>
            </a:r>
            <a:r>
              <a:rPr lang="de-DE"/>
              <a:t>)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9CD48E90-58F3-40B4-B97C-453785FBBABC}"/>
              </a:ext>
            </a:extLst>
          </p:cNvPr>
          <p:cNvSpPr>
            <a:spLocks noGrp="1"/>
          </p:cNvSpPr>
          <p:nvPr>
            <p:ph sz="quarter" idx="12"/>
          </p:nvPr>
        </p:nvSpPr>
        <p:spPr bwMode="black">
          <a:xfrm>
            <a:off x="8042901" y="1484313"/>
            <a:ext cx="3525099" cy="4752000"/>
          </a:xfrm>
        </p:spPr>
        <p:txBody>
          <a:bodyPr>
            <a:noAutofit/>
          </a:bodyPr>
          <a:lstStyle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A40AE5EC-538A-4BF1-ABC1-3EE1CF9C15F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479426" y="1485312"/>
            <a:ext cx="7344528" cy="4752000"/>
          </a:xfrm>
        </p:spPr>
        <p:txBody>
          <a:bodyPr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tx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tx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tx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tx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tx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tx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tx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lvl="4"/>
            <a:r>
              <a:rPr lang="de-DE"/>
              <a:t>Bild einfügen</a:t>
            </a:r>
          </a:p>
        </p:txBody>
      </p:sp>
      <p:sp>
        <p:nvSpPr>
          <p:cNvPr id="9" name="Fußzeilenplatzhalter 4">
            <a:extLst>
              <a:ext uri="{FF2B5EF4-FFF2-40B4-BE49-F238E27FC236}">
                <a16:creationId xmlns:a16="http://schemas.microsoft.com/office/drawing/2014/main" id="{750F0558-63F2-5B47-888B-1CF890D74C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478800" y="6453000"/>
            <a:ext cx="9326146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 kern="900" baseline="0">
                <a:solidFill>
                  <a:schemeClr val="tx1"/>
                </a:solidFill>
              </a:defRPr>
            </a:lvl1pPr>
          </a:lstStyle>
          <a:p>
            <a:r>
              <a:rPr lang="de-DE"/>
              <a:t>T-Systems India - Digital Solutions </a:t>
            </a:r>
          </a:p>
        </p:txBody>
      </p:sp>
      <p:sp>
        <p:nvSpPr>
          <p:cNvPr id="11" name="Foliennummernplatzhalter 5">
            <a:extLst>
              <a:ext uri="{FF2B5EF4-FFF2-40B4-BE49-F238E27FC236}">
                <a16:creationId xmlns:a16="http://schemas.microsoft.com/office/drawing/2014/main" id="{20A08EBA-CCA0-BD45-9DD2-2D2BD71824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11442000" y="6453000"/>
            <a:ext cx="252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A1A5E10D-79A5-49BA-9648-53481340C65F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7570240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ild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white background with lines&#10;&#10;Description automatically generated">
            <a:extLst>
              <a:ext uri="{FF2B5EF4-FFF2-40B4-BE49-F238E27FC236}">
                <a16:creationId xmlns:a16="http://schemas.microsoft.com/office/drawing/2014/main" id="{715F3433-83ED-CA49-E66A-2067A87B369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65000"/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F2C3D87C-72A8-13B3-7DB3-60F0FBACAF50}"/>
              </a:ext>
            </a:extLst>
          </p:cNvPr>
          <p:cNvSpPr/>
          <p:nvPr userDrawn="1"/>
        </p:nvSpPr>
        <p:spPr>
          <a:xfrm rot="10800000">
            <a:off x="0" y="0"/>
            <a:ext cx="12192000" cy="3172909"/>
          </a:xfrm>
          <a:prstGeom prst="rect">
            <a:avLst/>
          </a:prstGeom>
          <a:solidFill>
            <a:schemeClr val="tx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US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FE81FFF7-977C-6AC5-0BA6-22512DC5905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691" r="256"/>
          <a:stretch/>
        </p:blipFill>
        <p:spPr>
          <a:xfrm>
            <a:off x="7823953" y="2993543"/>
            <a:ext cx="4372147" cy="439735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6902E79-B5C3-4A51-9C68-88010755DD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>
            <a:noAutofit/>
          </a:bodyPr>
          <a:lstStyle>
            <a:lvl1pPr>
              <a:defRPr/>
            </a:lvl1pPr>
          </a:lstStyle>
          <a:p>
            <a:r>
              <a:rPr lang="de-DE"/>
              <a:t>Überschrift einzeilig </a:t>
            </a:r>
            <a:r>
              <a:rPr lang="de-DE" err="1"/>
              <a:t>40pt</a:t>
            </a:r>
            <a:r>
              <a:rPr lang="de-DE"/>
              <a:t> (zweizeilig </a:t>
            </a:r>
            <a:r>
              <a:rPr lang="de-DE" err="1"/>
              <a:t>24pt</a:t>
            </a:r>
            <a:r>
              <a:rPr lang="de-DE"/>
              <a:t>)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9CD48E90-58F3-40B4-B97C-453785FBBAB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black">
          <a:xfrm>
            <a:off x="8042901" y="1268760"/>
            <a:ext cx="3673194" cy="1504952"/>
          </a:xfrm>
        </p:spPr>
        <p:txBody>
          <a:bodyPr>
            <a:noAutofit/>
          </a:bodyPr>
          <a:lstStyle>
            <a:lvl1pPr>
              <a:defRPr sz="2400">
                <a:latin typeface="+mj-lt"/>
              </a:defRPr>
            </a:lvl1pPr>
            <a:lvl2pPr>
              <a:defRPr sz="2400">
                <a:latin typeface="+mj-lt"/>
              </a:defRPr>
            </a:lvl2pPr>
            <a:lvl3pPr>
              <a:defRPr sz="2400">
                <a:latin typeface="+mj-lt"/>
              </a:defRPr>
            </a:lvl3pPr>
            <a:lvl4pPr>
              <a:defRPr sz="2400">
                <a:latin typeface="+mj-lt"/>
              </a:defRPr>
            </a:lvl4pPr>
            <a:lvl5pPr>
              <a:defRPr sz="2400">
                <a:latin typeface="+mj-lt"/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A40AE5EC-538A-4BF1-ABC1-3EE1CF9C15F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479426" y="1269759"/>
            <a:ext cx="7344528" cy="4752000"/>
          </a:xfrm>
        </p:spPr>
        <p:txBody>
          <a:bodyPr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tx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tx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tx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tx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tx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tx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tx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lvl="4"/>
            <a:r>
              <a:rPr lang="de-DE"/>
              <a:t>Bild einfügen</a:t>
            </a:r>
          </a:p>
        </p:txBody>
      </p:sp>
      <p:sp>
        <p:nvSpPr>
          <p:cNvPr id="9" name="Fußzeilenplatzhalter 4">
            <a:extLst>
              <a:ext uri="{FF2B5EF4-FFF2-40B4-BE49-F238E27FC236}">
                <a16:creationId xmlns:a16="http://schemas.microsoft.com/office/drawing/2014/main" id="{750F0558-63F2-5B47-888B-1CF890D74C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478800" y="6453000"/>
            <a:ext cx="9326146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 kern="900" baseline="0">
                <a:solidFill>
                  <a:schemeClr val="tx1"/>
                </a:solidFill>
              </a:defRPr>
            </a:lvl1pPr>
          </a:lstStyle>
          <a:p>
            <a:r>
              <a:rPr lang="de-DE"/>
              <a:t>T-Systems India - Digital Solutions </a:t>
            </a:r>
          </a:p>
        </p:txBody>
      </p:sp>
      <p:sp>
        <p:nvSpPr>
          <p:cNvPr id="11" name="Foliennummernplatzhalter 5">
            <a:extLst>
              <a:ext uri="{FF2B5EF4-FFF2-40B4-BE49-F238E27FC236}">
                <a16:creationId xmlns:a16="http://schemas.microsoft.com/office/drawing/2014/main" id="{20A08EBA-CCA0-BD45-9DD2-2D2BD71824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11442000" y="6453000"/>
            <a:ext cx="252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A1A5E10D-79A5-49BA-9648-53481340C65F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8186602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itatfoli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05B2240A-4EA3-843B-EB11-B4CB8BDA9DC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Textplatzhalter 3">
            <a:extLst>
              <a:ext uri="{FF2B5EF4-FFF2-40B4-BE49-F238E27FC236}">
                <a16:creationId xmlns:a16="http://schemas.microsoft.com/office/drawing/2014/main" id="{A7F38100-CCEB-6E81-E771-C3CEC68C0D9C}"/>
              </a:ext>
            </a:extLst>
          </p:cNvPr>
          <p:cNvSpPr txBox="1">
            <a:spLocks/>
          </p:cNvSpPr>
          <p:nvPr userDrawn="1"/>
        </p:nvSpPr>
        <p:spPr bwMode="gray">
          <a:xfrm>
            <a:off x="2568424" y="2133128"/>
            <a:ext cx="7344000" cy="244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900"/>
              </a:spcAft>
              <a:buFont typeface="+mn-lt" panose="020B0604020202020204" pitchFamily="34" charset="0"/>
              <a:buNone/>
              <a:defRPr sz="40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r" defTabSz="914400" rtl="0" eaLnBrk="1" latinLnBrk="0" hangingPunct="1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Font typeface="+mn-lt" panose="020B0604020202020204" pitchFamily="34" charset="0"/>
              <a:buNone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r" defTabSz="914400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None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r" defTabSz="914400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None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r" defTabSz="914400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None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r" defTabSz="914400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None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0" indent="0" algn="r" defTabSz="914400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None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0" indent="0" algn="r" defTabSz="914400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None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0" indent="0" algn="r" defTabSz="914400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None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+mn-lt" panose="020B0604020202020204" pitchFamily="34" charset="0"/>
              <a:buNone/>
              <a:tabLst/>
              <a:defRPr/>
            </a:pPr>
            <a:r>
              <a:rPr kumimoji="0" lang="de-DE" sz="4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leNeo Office ExtraBold"/>
                <a:ea typeface="+mn-ea"/>
                <a:cs typeface="+mn-cs"/>
              </a:rPr>
              <a:t>We become what we behold. </a:t>
            </a: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+mn-lt" panose="020B0604020202020204" pitchFamily="34" charset="0"/>
              <a:buNone/>
              <a:tabLst/>
              <a:defRPr/>
            </a:pPr>
            <a:r>
              <a:rPr kumimoji="0" lang="de-DE" sz="4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leNeo Office ExtraBold"/>
                <a:ea typeface="+mn-ea"/>
                <a:cs typeface="+mn-cs"/>
              </a:rPr>
              <a:t>We shape our tools, and </a:t>
            </a: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+mn-lt" panose="020B0604020202020204" pitchFamily="34" charset="0"/>
              <a:buNone/>
              <a:tabLst/>
              <a:defRPr/>
            </a:pPr>
            <a:r>
              <a:rPr kumimoji="0" lang="de-DE" sz="4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leNeo Office ExtraBold"/>
                <a:ea typeface="+mn-ea"/>
                <a:cs typeface="+mn-cs"/>
              </a:rPr>
              <a:t>thereafter our tools shape us.</a:t>
            </a:r>
          </a:p>
          <a:p>
            <a:pPr marL="0" marR="0" lvl="1" indent="0" algn="r" defTabSz="914400" rtl="0" eaLnBrk="1" fontAlgn="auto" latinLnBrk="0" hangingPunct="1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+mn-lt" panose="020B0604020202020204" pitchFamily="34" charset="0"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– Marshall McLuhan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8360E8C1-3E4B-6EAB-B348-5C2070817C74}"/>
              </a:ext>
            </a:extLst>
          </p:cNvPr>
          <p:cNvSpPr/>
          <p:nvPr userDrawn="1"/>
        </p:nvSpPr>
        <p:spPr bwMode="gray">
          <a:xfrm>
            <a:off x="1383874" y="908896"/>
            <a:ext cx="1152000" cy="15840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72000" tIns="72000" rIns="72000" bIns="72000"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99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“</a:t>
            </a:r>
          </a:p>
        </p:txBody>
      </p:sp>
    </p:spTree>
    <p:extLst>
      <p:ext uri="{BB962C8B-B14F-4D97-AF65-F5344CB8AC3E}">
        <p14:creationId xmlns:p14="http://schemas.microsoft.com/office/powerpoint/2010/main" val="7261593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780">
          <p15:clr>
            <a:srgbClr val="FBAE40"/>
          </p15:clr>
        </p15:guide>
        <p15:guide id="3" orient="horz" pos="1324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758364E8-4ECD-4C26-A5E5-021E95A628B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ltGray">
          <a:xfrm>
            <a:off x="0" y="0"/>
            <a:ext cx="12192000" cy="6858000"/>
          </a:xfrm>
        </p:spPr>
        <p:txBody>
          <a:bodyPr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de-DE"/>
              <a:t>Bild einfügen</a:t>
            </a:r>
          </a:p>
        </p:txBody>
      </p:sp>
    </p:spTree>
    <p:extLst>
      <p:ext uri="{BB962C8B-B14F-4D97-AF65-F5344CB8AC3E}">
        <p14:creationId xmlns:p14="http://schemas.microsoft.com/office/powerpoint/2010/main" val="354613105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Inhalt mit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93F1334-0C30-417F-8C36-14E54C69E5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>
            <a:noAutofit/>
          </a:bodyPr>
          <a:lstStyle>
            <a:lvl1pPr>
              <a:defRPr/>
            </a:lvl1pPr>
          </a:lstStyle>
          <a:p>
            <a:r>
              <a:rPr lang="de-DE"/>
              <a:t>Überschrift einzeilig </a:t>
            </a:r>
            <a:r>
              <a:rPr lang="de-DE" err="1"/>
              <a:t>40pt</a:t>
            </a:r>
            <a:r>
              <a:rPr lang="de-DE"/>
              <a:t> (zweizeilig </a:t>
            </a:r>
            <a:r>
              <a:rPr lang="de-DE" err="1"/>
              <a:t>24pt</a:t>
            </a:r>
            <a:r>
              <a:rPr lang="de-DE"/>
              <a:t>)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2390C6A2-43FF-4452-B80E-84686F69C3A3}"/>
              </a:ext>
            </a:extLst>
          </p:cNvPr>
          <p:cNvSpPr>
            <a:spLocks noGrp="1"/>
          </p:cNvSpPr>
          <p:nvPr>
            <p:ph sz="quarter" idx="12"/>
          </p:nvPr>
        </p:nvSpPr>
        <p:spPr bwMode="black">
          <a:xfrm>
            <a:off x="479425" y="1484588"/>
            <a:ext cx="3600575" cy="4752000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1" name="Freihandform: Form 10">
            <a:extLst>
              <a:ext uri="{FF2B5EF4-FFF2-40B4-BE49-F238E27FC236}">
                <a16:creationId xmlns:a16="http://schemas.microsoft.com/office/drawing/2014/main" id="{016A2F1E-AA29-4BA6-8F70-3BCCD073A91F}"/>
              </a:ext>
            </a:extLst>
          </p:cNvPr>
          <p:cNvSpPr/>
          <p:nvPr/>
        </p:nvSpPr>
        <p:spPr bwMode="grayWhite">
          <a:xfrm>
            <a:off x="4370020" y="1484999"/>
            <a:ext cx="7821980" cy="4257860"/>
          </a:xfrm>
          <a:custGeom>
            <a:avLst/>
            <a:gdLst>
              <a:gd name="connsiteX0" fmla="*/ 442664 w 7821980"/>
              <a:gd name="connsiteY0" fmla="*/ 0 h 4257860"/>
              <a:gd name="connsiteX1" fmla="*/ 7821980 w 7821980"/>
              <a:gd name="connsiteY1" fmla="*/ 0 h 4257860"/>
              <a:gd name="connsiteX2" fmla="*/ 7821980 w 7821980"/>
              <a:gd name="connsiteY2" fmla="*/ 4257860 h 4257860"/>
              <a:gd name="connsiteX3" fmla="*/ 442664 w 7821980"/>
              <a:gd name="connsiteY3" fmla="*/ 4257860 h 4257860"/>
              <a:gd name="connsiteX4" fmla="*/ 0 w 7821980"/>
              <a:gd name="connsiteY4" fmla="*/ 3814543 h 4257860"/>
              <a:gd name="connsiteX5" fmla="*/ 0 w 7821980"/>
              <a:gd name="connsiteY5" fmla="*/ 443317 h 4257860"/>
              <a:gd name="connsiteX6" fmla="*/ 442664 w 7821980"/>
              <a:gd name="connsiteY6" fmla="*/ 0 h 42578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821980" h="4257860">
                <a:moveTo>
                  <a:pt x="442664" y="0"/>
                </a:moveTo>
                <a:lnTo>
                  <a:pt x="7821980" y="0"/>
                </a:lnTo>
                <a:lnTo>
                  <a:pt x="7821980" y="4257860"/>
                </a:lnTo>
                <a:lnTo>
                  <a:pt x="442664" y="4257860"/>
                </a:lnTo>
                <a:cubicBezTo>
                  <a:pt x="196451" y="4257860"/>
                  <a:pt x="0" y="4057831"/>
                  <a:pt x="0" y="3814543"/>
                </a:cubicBezTo>
                <a:lnTo>
                  <a:pt x="0" y="443317"/>
                </a:lnTo>
                <a:cubicBezTo>
                  <a:pt x="0" y="196777"/>
                  <a:pt x="199378" y="0"/>
                  <a:pt x="442664" y="0"/>
                </a:cubicBezTo>
                <a:close/>
              </a:path>
            </a:pathLst>
          </a:custGeom>
          <a:solidFill>
            <a:srgbClr val="E20074"/>
          </a:solidFill>
          <a:ln w="3019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F0F78BCD-19BD-284D-A7A4-F6D6B578D2A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478800" y="6453000"/>
            <a:ext cx="9326146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 kern="900" baseline="0">
                <a:solidFill>
                  <a:schemeClr val="tx1"/>
                </a:solidFill>
              </a:defRPr>
            </a:lvl1pPr>
          </a:lstStyle>
          <a:p>
            <a:r>
              <a:rPr lang="de-DE"/>
              <a:t>T-Systems India - Digital Solutions </a:t>
            </a:r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61297F61-6F52-E040-9606-AACABB497B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11442000" y="6453000"/>
            <a:ext cx="252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A1A5E10D-79A5-49BA-9648-53481340C65F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420705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Zwei Inhalte mit Highligh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4CF5EE6-FFD8-44FD-9C80-95B68F34D2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>
            <a:noAutofit/>
          </a:bodyPr>
          <a:lstStyle>
            <a:lvl1pPr>
              <a:defRPr/>
            </a:lvl1pPr>
          </a:lstStyle>
          <a:p>
            <a:r>
              <a:rPr lang="de-DE"/>
              <a:t>Überschrift einzeilig </a:t>
            </a:r>
            <a:r>
              <a:rPr lang="de-DE" err="1"/>
              <a:t>40pt</a:t>
            </a:r>
            <a:r>
              <a:rPr lang="de-DE"/>
              <a:t> (zweizeilig </a:t>
            </a:r>
            <a:r>
              <a:rPr lang="de-DE" err="1"/>
              <a:t>24pt</a:t>
            </a:r>
            <a:r>
              <a:rPr lang="de-DE"/>
              <a:t>)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8A968421-13D9-452E-9E1F-D6F5FE4699B5}"/>
              </a:ext>
            </a:extLst>
          </p:cNvPr>
          <p:cNvSpPr>
            <a:spLocks noGrp="1"/>
          </p:cNvSpPr>
          <p:nvPr>
            <p:ph sz="quarter" idx="12"/>
          </p:nvPr>
        </p:nvSpPr>
        <p:spPr bwMode="black">
          <a:xfrm>
            <a:off x="479425" y="1484313"/>
            <a:ext cx="3600575" cy="4752000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61FA861B-DD93-4B8B-8DB8-0BCD738A1724}"/>
              </a:ext>
            </a:extLst>
          </p:cNvPr>
          <p:cNvSpPr>
            <a:spLocks noGrp="1"/>
          </p:cNvSpPr>
          <p:nvPr>
            <p:ph sz="quarter" idx="13"/>
          </p:nvPr>
        </p:nvSpPr>
        <p:spPr bwMode="black">
          <a:xfrm>
            <a:off x="4223425" y="1484313"/>
            <a:ext cx="3600575" cy="4752000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51E35917-C910-4744-96DF-422D74FCDD6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478800" y="6453000"/>
            <a:ext cx="9326146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 kern="900" baseline="0">
                <a:solidFill>
                  <a:schemeClr val="tx1"/>
                </a:solidFill>
              </a:defRPr>
            </a:lvl1pPr>
          </a:lstStyle>
          <a:p>
            <a:r>
              <a:rPr lang="de-DE"/>
              <a:t>T-Systems India - Digital Solutions </a:t>
            </a:r>
          </a:p>
        </p:txBody>
      </p:sp>
      <p:sp>
        <p:nvSpPr>
          <p:cNvPr id="11" name="Foliennummernplatzhalter 5">
            <a:extLst>
              <a:ext uri="{FF2B5EF4-FFF2-40B4-BE49-F238E27FC236}">
                <a16:creationId xmlns:a16="http://schemas.microsoft.com/office/drawing/2014/main" id="{2F57FED8-1C48-FA4E-AB8B-42306D33F7C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11442000" y="6453000"/>
            <a:ext cx="252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A1A5E10D-79A5-49BA-9648-53481340C65F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3" name="Freeform: Shape 12">
            <a:extLst>
              <a:ext uri="{FF2B5EF4-FFF2-40B4-BE49-F238E27FC236}">
                <a16:creationId xmlns:a16="http://schemas.microsoft.com/office/drawing/2014/main" id="{FC8CCC06-F9F0-1919-0EC2-AA14873BB108}"/>
              </a:ext>
            </a:extLst>
          </p:cNvPr>
          <p:cNvSpPr/>
          <p:nvPr userDrawn="1"/>
        </p:nvSpPr>
        <p:spPr bwMode="gray">
          <a:xfrm>
            <a:off x="7913792" y="1484312"/>
            <a:ext cx="4278208" cy="4897438"/>
          </a:xfrm>
          <a:custGeom>
            <a:avLst/>
            <a:gdLst>
              <a:gd name="connsiteX0" fmla="*/ 3150760 w 4278208"/>
              <a:gd name="connsiteY0" fmla="*/ 0 h 4897438"/>
              <a:gd name="connsiteX1" fmla="*/ 4278208 w 4278208"/>
              <a:gd name="connsiteY1" fmla="*/ 0 h 4897438"/>
              <a:gd name="connsiteX2" fmla="*/ 4278208 w 4278208"/>
              <a:gd name="connsiteY2" fmla="*/ 4897438 h 4897438"/>
              <a:gd name="connsiteX3" fmla="*/ 4089262 w 4278208"/>
              <a:gd name="connsiteY3" fmla="*/ 4897438 h 4897438"/>
              <a:gd name="connsiteX4" fmla="*/ 3150760 w 4278208"/>
              <a:gd name="connsiteY4" fmla="*/ 4897438 h 4897438"/>
              <a:gd name="connsiteX5" fmla="*/ 0 w 4278208"/>
              <a:gd name="connsiteY5" fmla="*/ 4897438 h 4897438"/>
              <a:gd name="connsiteX6" fmla="*/ 163558 w 4278208"/>
              <a:gd name="connsiteY6" fmla="*/ 4029750 h 4897438"/>
              <a:gd name="connsiteX7" fmla="*/ 913209 w 4278208"/>
              <a:gd name="connsiteY7" fmla="*/ 677 h 4897438"/>
              <a:gd name="connsiteX8" fmla="*/ 3150760 w 4278208"/>
              <a:gd name="connsiteY8" fmla="*/ 677 h 48974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278208" h="4897438">
                <a:moveTo>
                  <a:pt x="3150760" y="0"/>
                </a:moveTo>
                <a:lnTo>
                  <a:pt x="4278208" y="0"/>
                </a:lnTo>
                <a:lnTo>
                  <a:pt x="4278208" y="4897438"/>
                </a:lnTo>
                <a:lnTo>
                  <a:pt x="4089262" y="4897438"/>
                </a:lnTo>
                <a:lnTo>
                  <a:pt x="3150760" y="4897438"/>
                </a:lnTo>
                <a:lnTo>
                  <a:pt x="0" y="4897438"/>
                </a:lnTo>
                <a:lnTo>
                  <a:pt x="163558" y="4029750"/>
                </a:lnTo>
                <a:cubicBezTo>
                  <a:pt x="413442" y="2686726"/>
                  <a:pt x="655958" y="1343702"/>
                  <a:pt x="913209" y="677"/>
                </a:cubicBezTo>
                <a:lnTo>
                  <a:pt x="3150760" y="677"/>
                </a:lnTo>
                <a:close/>
              </a:path>
            </a:pathLst>
          </a:custGeom>
          <a:solidFill>
            <a:schemeClr val="tx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2607007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Inhalt mit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93F1334-0C30-417F-8C36-14E54C69E5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>
            <a:noAutofit/>
          </a:bodyPr>
          <a:lstStyle>
            <a:lvl1pPr>
              <a:defRPr/>
            </a:lvl1pPr>
          </a:lstStyle>
          <a:p>
            <a:r>
              <a:rPr lang="de-DE"/>
              <a:t>Überschrift einzeilig </a:t>
            </a:r>
            <a:r>
              <a:rPr lang="de-DE" err="1"/>
              <a:t>40pt</a:t>
            </a:r>
            <a:r>
              <a:rPr lang="de-DE"/>
              <a:t> (zweizeilig </a:t>
            </a:r>
            <a:r>
              <a:rPr lang="de-DE" err="1"/>
              <a:t>24pt</a:t>
            </a:r>
            <a:r>
              <a:rPr lang="de-DE"/>
              <a:t>)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2390C6A2-43FF-4452-B80E-84686F69C3A3}"/>
              </a:ext>
            </a:extLst>
          </p:cNvPr>
          <p:cNvSpPr>
            <a:spLocks noGrp="1"/>
          </p:cNvSpPr>
          <p:nvPr>
            <p:ph sz="quarter" idx="12"/>
          </p:nvPr>
        </p:nvSpPr>
        <p:spPr bwMode="black">
          <a:xfrm>
            <a:off x="479425" y="1484588"/>
            <a:ext cx="3600575" cy="4752000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F0F78BCD-19BD-284D-A7A4-F6D6B578D2A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478800" y="6453000"/>
            <a:ext cx="9326146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 kern="900" baseline="0">
                <a:solidFill>
                  <a:schemeClr val="tx1"/>
                </a:solidFill>
              </a:defRPr>
            </a:lvl1pPr>
          </a:lstStyle>
          <a:p>
            <a:r>
              <a:rPr lang="de-DE"/>
              <a:t>T-Systems India - Digital Solutions </a:t>
            </a:r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61297F61-6F52-E040-9606-AACABB497B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11442000" y="6453000"/>
            <a:ext cx="252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A1A5E10D-79A5-49BA-9648-53481340C65F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3" name="Freeform: Shape 11">
            <a:extLst>
              <a:ext uri="{FF2B5EF4-FFF2-40B4-BE49-F238E27FC236}">
                <a16:creationId xmlns:a16="http://schemas.microsoft.com/office/drawing/2014/main" id="{48F24D65-4C94-9E4F-934A-CE1A59122E65}"/>
              </a:ext>
            </a:extLst>
          </p:cNvPr>
          <p:cNvSpPr/>
          <p:nvPr userDrawn="1"/>
        </p:nvSpPr>
        <p:spPr bwMode="gray">
          <a:xfrm>
            <a:off x="4295800" y="1484312"/>
            <a:ext cx="7896200" cy="4897438"/>
          </a:xfrm>
          <a:custGeom>
            <a:avLst/>
            <a:gdLst>
              <a:gd name="connsiteX0" fmla="*/ 3150760 w 7896200"/>
              <a:gd name="connsiteY0" fmla="*/ 0 h 4897438"/>
              <a:gd name="connsiteX1" fmla="*/ 4278208 w 7896200"/>
              <a:gd name="connsiteY1" fmla="*/ 0 h 4897438"/>
              <a:gd name="connsiteX2" fmla="*/ 4278208 w 7896200"/>
              <a:gd name="connsiteY2" fmla="*/ 816 h 4897438"/>
              <a:gd name="connsiteX3" fmla="*/ 7896200 w 7896200"/>
              <a:gd name="connsiteY3" fmla="*/ 816 h 4897438"/>
              <a:gd name="connsiteX4" fmla="*/ 7896200 w 7896200"/>
              <a:gd name="connsiteY4" fmla="*/ 4897438 h 4897438"/>
              <a:gd name="connsiteX5" fmla="*/ 4278208 w 7896200"/>
              <a:gd name="connsiteY5" fmla="*/ 4897438 h 4897438"/>
              <a:gd name="connsiteX6" fmla="*/ 4089262 w 7896200"/>
              <a:gd name="connsiteY6" fmla="*/ 4897438 h 4897438"/>
              <a:gd name="connsiteX7" fmla="*/ 3150760 w 7896200"/>
              <a:gd name="connsiteY7" fmla="*/ 4897438 h 4897438"/>
              <a:gd name="connsiteX8" fmla="*/ 74220 w 7896200"/>
              <a:gd name="connsiteY8" fmla="*/ 4897438 h 4897438"/>
              <a:gd name="connsiteX9" fmla="*/ 0 w 7896200"/>
              <a:gd name="connsiteY9" fmla="*/ 4897438 h 4897438"/>
              <a:gd name="connsiteX10" fmla="*/ 163558 w 7896200"/>
              <a:gd name="connsiteY10" fmla="*/ 4029750 h 4897438"/>
              <a:gd name="connsiteX11" fmla="*/ 913209 w 7896200"/>
              <a:gd name="connsiteY11" fmla="*/ 677 h 4897438"/>
              <a:gd name="connsiteX12" fmla="*/ 3150760 w 7896200"/>
              <a:gd name="connsiteY12" fmla="*/ 677 h 48974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7896200" h="4897438">
                <a:moveTo>
                  <a:pt x="3150760" y="0"/>
                </a:moveTo>
                <a:lnTo>
                  <a:pt x="4278208" y="0"/>
                </a:lnTo>
                <a:lnTo>
                  <a:pt x="4278208" y="816"/>
                </a:lnTo>
                <a:lnTo>
                  <a:pt x="7896200" y="816"/>
                </a:lnTo>
                <a:lnTo>
                  <a:pt x="7896200" y="4897438"/>
                </a:lnTo>
                <a:lnTo>
                  <a:pt x="4278208" y="4897438"/>
                </a:lnTo>
                <a:lnTo>
                  <a:pt x="4089262" y="4897438"/>
                </a:lnTo>
                <a:lnTo>
                  <a:pt x="3150760" y="4897438"/>
                </a:lnTo>
                <a:lnTo>
                  <a:pt x="74220" y="4897438"/>
                </a:lnTo>
                <a:lnTo>
                  <a:pt x="0" y="4897438"/>
                </a:lnTo>
                <a:lnTo>
                  <a:pt x="163558" y="4029750"/>
                </a:lnTo>
                <a:cubicBezTo>
                  <a:pt x="413442" y="2686726"/>
                  <a:pt x="655958" y="1343702"/>
                  <a:pt x="913209" y="677"/>
                </a:cubicBezTo>
                <a:lnTo>
                  <a:pt x="3150760" y="677"/>
                </a:lnTo>
                <a:close/>
              </a:path>
            </a:pathLst>
          </a:custGeom>
          <a:solidFill>
            <a:srgbClr val="E20074"/>
          </a:solidFill>
          <a:ln w="301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41678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>
            <a:extLst>
              <a:ext uri="{FF2B5EF4-FFF2-40B4-BE49-F238E27FC236}">
                <a16:creationId xmlns:a16="http://schemas.microsoft.com/office/drawing/2014/main" id="{093F1312-E045-45D5-9070-E0D61D89569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0"/>
            <a:ext cx="5121825" cy="6858000"/>
          </a:xfrm>
          <a:custGeom>
            <a:avLst/>
            <a:gdLst>
              <a:gd name="connsiteX0" fmla="*/ 0 w 5121825"/>
              <a:gd name="connsiteY0" fmla="*/ 0 h 6858000"/>
              <a:gd name="connsiteX1" fmla="*/ 5121825 w 5121825"/>
              <a:gd name="connsiteY1" fmla="*/ 0 h 6858000"/>
              <a:gd name="connsiteX2" fmla="*/ 3858175 w 5121825"/>
              <a:gd name="connsiteY2" fmla="*/ 6858000 h 6858000"/>
              <a:gd name="connsiteX3" fmla="*/ 0 w 512182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21825" h="6858000">
                <a:moveTo>
                  <a:pt x="0" y="0"/>
                </a:moveTo>
                <a:lnTo>
                  <a:pt x="5121825" y="0"/>
                </a:lnTo>
                <a:lnTo>
                  <a:pt x="385817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de-DE"/>
              <a:t>Bild einfügen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6692ADA0-679C-43D9-930B-FB6BDFB479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79376" y="405000"/>
            <a:ext cx="3528392" cy="7200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77817267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el 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>
            <a:extLst>
              <a:ext uri="{FF2B5EF4-FFF2-40B4-BE49-F238E27FC236}">
                <a16:creationId xmlns:a16="http://schemas.microsoft.com/office/drawing/2014/main" id="{F4EDC520-2258-154A-BE9D-E07DDEB4387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85999" y="5833800"/>
            <a:ext cx="3585600" cy="468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855CF3A-8745-495B-9FFE-CE92A5F4D68B}"/>
              </a:ext>
            </a:extLst>
          </p:cNvPr>
          <p:cNvSpPr>
            <a:spLocks noGrp="1"/>
          </p:cNvSpPr>
          <p:nvPr>
            <p:ph type="ctrTitle"/>
          </p:nvPr>
        </p:nvSpPr>
        <p:spPr bwMode="black">
          <a:xfrm>
            <a:off x="478800" y="1988840"/>
            <a:ext cx="6336000" cy="1944000"/>
          </a:xfrm>
        </p:spPr>
        <p:txBody>
          <a:bodyPr lIns="0" anchor="b"/>
          <a:lstStyle>
            <a:lvl1pPr algn="l"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931B0A1-8DE4-4F87-9296-AE72B35697A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78800" y="4112840"/>
            <a:ext cx="5472000" cy="504000"/>
          </a:xfrm>
        </p:spPr>
        <p:txBody>
          <a:bodyPr lIns="0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9pPr>
          </a:lstStyle>
          <a:p>
            <a:r>
              <a:rPr lang="de-DE"/>
              <a:t>Untertitel | Autor*in | Ort | Datum</a:t>
            </a:r>
          </a:p>
        </p:txBody>
      </p:sp>
    </p:spTree>
    <p:extLst>
      <p:ext uri="{BB962C8B-B14F-4D97-AF65-F5344CB8AC3E}">
        <p14:creationId xmlns:p14="http://schemas.microsoft.com/office/powerpoint/2010/main" val="244063916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Titel 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BA856234-4795-A004-1C75-9463B6A7B60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20" y="-1"/>
            <a:ext cx="12184980" cy="6858001"/>
          </a:xfrm>
          <a:prstGeom prst="rect">
            <a:avLst/>
          </a:prstGeom>
        </p:spPr>
      </p:pic>
      <p:sp>
        <p:nvSpPr>
          <p:cNvPr id="9" name="Bildplatzhalter 8">
            <a:extLst>
              <a:ext uri="{FF2B5EF4-FFF2-40B4-BE49-F238E27FC236}">
                <a16:creationId xmlns:a16="http://schemas.microsoft.com/office/drawing/2014/main" id="{F4EDC520-2258-154A-BE9D-E07DDEB4387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85999" y="5833800"/>
            <a:ext cx="3585600" cy="4680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855CF3A-8745-495B-9FFE-CE92A5F4D68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478800" y="1988840"/>
            <a:ext cx="6336000" cy="1944000"/>
          </a:xfrm>
        </p:spPr>
        <p:txBody>
          <a:bodyPr lIns="0" anchor="b"/>
          <a:lstStyle>
            <a:lvl1pPr algn="l"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/>
              <a:t>Edi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931B0A1-8DE4-4F87-9296-AE72B35697A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78800" y="4112840"/>
            <a:ext cx="5472000" cy="504000"/>
          </a:xfrm>
        </p:spPr>
        <p:txBody>
          <a:bodyPr lIns="0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9pPr>
          </a:lstStyle>
          <a:p>
            <a:r>
              <a:rPr lang="de-DE" err="1"/>
              <a:t>Subtitle</a:t>
            </a:r>
            <a:r>
              <a:rPr lang="de-DE"/>
              <a:t> | </a:t>
            </a:r>
            <a:r>
              <a:rPr lang="de-DE" err="1"/>
              <a:t>Author</a:t>
            </a:r>
            <a:r>
              <a:rPr lang="de-DE"/>
              <a:t> | Place | Date</a:t>
            </a:r>
          </a:p>
        </p:txBody>
      </p:sp>
    </p:spTree>
    <p:extLst>
      <p:ext uri="{BB962C8B-B14F-4D97-AF65-F5344CB8AC3E}">
        <p14:creationId xmlns:p14="http://schemas.microsoft.com/office/powerpoint/2010/main" val="372241901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_Titel 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79A356B4-4923-5C7F-D997-443AF3BF62C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" r="30511" b="41296"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sp>
        <p:nvSpPr>
          <p:cNvPr id="9" name="Bildplatzhalter 8">
            <a:extLst>
              <a:ext uri="{FF2B5EF4-FFF2-40B4-BE49-F238E27FC236}">
                <a16:creationId xmlns:a16="http://schemas.microsoft.com/office/drawing/2014/main" id="{F4EDC520-2258-154A-BE9D-E07DDEB4387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303200" y="5833800"/>
            <a:ext cx="3585600" cy="4680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855CF3A-8745-495B-9FFE-CE92A5F4D68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478799" y="1988840"/>
            <a:ext cx="11233775" cy="1944000"/>
          </a:xfrm>
        </p:spPr>
        <p:txBody>
          <a:bodyPr lIns="0" anchor="ctr" anchorCtr="1"/>
          <a:lstStyle>
            <a:lvl1pPr algn="l"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/>
              <a:t>Edi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931B0A1-8DE4-4F87-9296-AE72B35697A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78800" y="4112840"/>
            <a:ext cx="11233774" cy="504000"/>
          </a:xfrm>
        </p:spPr>
        <p:txBody>
          <a:bodyPr lIns="0" anchor="ctr" anchorCtr="1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9pPr>
          </a:lstStyle>
          <a:p>
            <a:r>
              <a:rPr lang="de-DE" err="1"/>
              <a:t>Subtitle</a:t>
            </a:r>
            <a:r>
              <a:rPr lang="de-DE"/>
              <a:t> | </a:t>
            </a:r>
            <a:r>
              <a:rPr lang="de-DE" err="1"/>
              <a:t>Author</a:t>
            </a:r>
            <a:r>
              <a:rPr lang="de-DE"/>
              <a:t> | Place | Date</a:t>
            </a:r>
          </a:p>
        </p:txBody>
      </p:sp>
    </p:spTree>
    <p:extLst>
      <p:ext uri="{BB962C8B-B14F-4D97-AF65-F5344CB8AC3E}">
        <p14:creationId xmlns:p14="http://schemas.microsoft.com/office/powerpoint/2010/main" val="140094187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_Titel 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Bildplatzhalter 23">
            <a:extLst>
              <a:ext uri="{FF2B5EF4-FFF2-40B4-BE49-F238E27FC236}">
                <a16:creationId xmlns:a16="http://schemas.microsoft.com/office/drawing/2014/main" id="{F1A5A0C3-6E00-10BC-3E28-CD6340D0C74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black">
          <a:xfrm>
            <a:off x="1518" y="-1675"/>
            <a:ext cx="12189600" cy="6858000"/>
          </a:xfrm>
          <a:custGeom>
            <a:avLst/>
            <a:gdLst>
              <a:gd name="connsiteX0" fmla="*/ 7733853 w 12186000"/>
              <a:gd name="connsiteY0" fmla="*/ 0 h 6858000"/>
              <a:gd name="connsiteX1" fmla="*/ 12186000 w 12186000"/>
              <a:gd name="connsiteY1" fmla="*/ 0 h 6858000"/>
              <a:gd name="connsiteX2" fmla="*/ 12186000 w 12186000"/>
              <a:gd name="connsiteY2" fmla="*/ 6858000 h 6858000"/>
              <a:gd name="connsiteX3" fmla="*/ 0 w 12186000"/>
              <a:gd name="connsiteY3" fmla="*/ 6858000 h 6858000"/>
              <a:gd name="connsiteX4" fmla="*/ 0 w 12186000"/>
              <a:gd name="connsiteY4" fmla="*/ 4904066 h 6858000"/>
              <a:gd name="connsiteX5" fmla="*/ 1584 w 12186000"/>
              <a:gd name="connsiteY5" fmla="*/ 4891638 h 6858000"/>
              <a:gd name="connsiteX6" fmla="*/ 405886 w 12186000"/>
              <a:gd name="connsiteY6" fmla="*/ 5534937 h 6858000"/>
              <a:gd name="connsiteX7" fmla="*/ 1060197 w 12186000"/>
              <a:gd name="connsiteY7" fmla="*/ 4490729 h 6858000"/>
              <a:gd name="connsiteX8" fmla="*/ 4031527 w 12186000"/>
              <a:gd name="connsiteY8" fmla="*/ 4490729 h 6858000"/>
              <a:gd name="connsiteX9" fmla="*/ 5218936 w 12186000"/>
              <a:gd name="connsiteY9" fmla="*/ 2600672 h 6858000"/>
              <a:gd name="connsiteX10" fmla="*/ 6100006 w 12186000"/>
              <a:gd name="connsiteY10" fmla="*/ 260067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86000" h="6858000">
                <a:moveTo>
                  <a:pt x="7733853" y="0"/>
                </a:moveTo>
                <a:lnTo>
                  <a:pt x="12186000" y="0"/>
                </a:lnTo>
                <a:lnTo>
                  <a:pt x="12186000" y="6858000"/>
                </a:lnTo>
                <a:lnTo>
                  <a:pt x="0" y="6858000"/>
                </a:lnTo>
                <a:lnTo>
                  <a:pt x="0" y="4904066"/>
                </a:lnTo>
                <a:lnTo>
                  <a:pt x="1584" y="4891638"/>
                </a:lnTo>
                <a:lnTo>
                  <a:pt x="405886" y="5534937"/>
                </a:lnTo>
                <a:lnTo>
                  <a:pt x="1060197" y="4490729"/>
                </a:lnTo>
                <a:lnTo>
                  <a:pt x="4031527" y="4490729"/>
                </a:lnTo>
                <a:lnTo>
                  <a:pt x="5218936" y="2600672"/>
                </a:lnTo>
                <a:lnTo>
                  <a:pt x="6100006" y="2600672"/>
                </a:lnTo>
                <a:close/>
              </a:path>
            </a:pathLst>
          </a:custGeom>
          <a:noFill/>
        </p:spPr>
        <p:txBody>
          <a:bodyPr wrap="square">
            <a:noAutofit/>
          </a:bodyPr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7" name="Bildplatzhalter 8">
            <a:extLst>
              <a:ext uri="{FF2B5EF4-FFF2-40B4-BE49-F238E27FC236}">
                <a16:creationId xmlns:a16="http://schemas.microsoft.com/office/drawing/2014/main" id="{84CDAD80-E892-D74A-B78D-B5AA7D4B921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85999" y="5833800"/>
            <a:ext cx="3585600" cy="468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E06200C7-3B76-A44D-E941-30128673D3C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8328248" cy="5545224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7855CF3A-8745-495B-9FFE-CE92A5F4D68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478800" y="476672"/>
            <a:ext cx="5617200" cy="1944000"/>
          </a:xfrm>
        </p:spPr>
        <p:txBody>
          <a:bodyPr lIns="0" anchor="t" anchorCtr="0"/>
          <a:lstStyle>
            <a:lvl1pPr algn="l"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/>
              <a:t>Edi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931B0A1-8DE4-4F87-9296-AE72B35697A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78800" y="2600672"/>
            <a:ext cx="4249048" cy="504000"/>
          </a:xfrm>
        </p:spPr>
        <p:txBody>
          <a:bodyPr lIns="0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9pPr>
          </a:lstStyle>
          <a:p>
            <a:r>
              <a:rPr lang="de-DE" err="1"/>
              <a:t>Subtitle</a:t>
            </a:r>
            <a:r>
              <a:rPr lang="de-DE"/>
              <a:t> | </a:t>
            </a:r>
            <a:r>
              <a:rPr lang="de-DE" err="1"/>
              <a:t>Author</a:t>
            </a:r>
            <a:r>
              <a:rPr lang="de-DE"/>
              <a:t> | Place | Date</a:t>
            </a:r>
          </a:p>
        </p:txBody>
      </p:sp>
    </p:spTree>
    <p:extLst>
      <p:ext uri="{BB962C8B-B14F-4D97-AF65-F5344CB8AC3E}">
        <p14:creationId xmlns:p14="http://schemas.microsoft.com/office/powerpoint/2010/main" val="27139645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2_Titel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4" name="Bildplatzhalter 23">
            <a:extLst>
              <a:ext uri="{FF2B5EF4-FFF2-40B4-BE49-F238E27FC236}">
                <a16:creationId xmlns:a16="http://schemas.microsoft.com/office/drawing/2014/main" id="{F1A5A0C3-6E00-10BC-3E28-CD6340D0C74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black">
          <a:xfrm>
            <a:off x="1518" y="-1676"/>
            <a:ext cx="12189600" cy="6859675"/>
          </a:xfrm>
          <a:custGeom>
            <a:avLst/>
            <a:gdLst>
              <a:gd name="connsiteX0" fmla="*/ 7733853 w 12186000"/>
              <a:gd name="connsiteY0" fmla="*/ 0 h 6858000"/>
              <a:gd name="connsiteX1" fmla="*/ 12186000 w 12186000"/>
              <a:gd name="connsiteY1" fmla="*/ 0 h 6858000"/>
              <a:gd name="connsiteX2" fmla="*/ 12186000 w 12186000"/>
              <a:gd name="connsiteY2" fmla="*/ 6858000 h 6858000"/>
              <a:gd name="connsiteX3" fmla="*/ 0 w 12186000"/>
              <a:gd name="connsiteY3" fmla="*/ 6858000 h 6858000"/>
              <a:gd name="connsiteX4" fmla="*/ 0 w 12186000"/>
              <a:gd name="connsiteY4" fmla="*/ 4904066 h 6858000"/>
              <a:gd name="connsiteX5" fmla="*/ 1584 w 12186000"/>
              <a:gd name="connsiteY5" fmla="*/ 4891638 h 6858000"/>
              <a:gd name="connsiteX6" fmla="*/ 405886 w 12186000"/>
              <a:gd name="connsiteY6" fmla="*/ 5534937 h 6858000"/>
              <a:gd name="connsiteX7" fmla="*/ 1060197 w 12186000"/>
              <a:gd name="connsiteY7" fmla="*/ 4490729 h 6858000"/>
              <a:gd name="connsiteX8" fmla="*/ 4031527 w 12186000"/>
              <a:gd name="connsiteY8" fmla="*/ 4490729 h 6858000"/>
              <a:gd name="connsiteX9" fmla="*/ 5218936 w 12186000"/>
              <a:gd name="connsiteY9" fmla="*/ 2600672 h 6858000"/>
              <a:gd name="connsiteX10" fmla="*/ 6100006 w 12186000"/>
              <a:gd name="connsiteY10" fmla="*/ 260067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86000" h="6858000">
                <a:moveTo>
                  <a:pt x="7733853" y="0"/>
                </a:moveTo>
                <a:lnTo>
                  <a:pt x="12186000" y="0"/>
                </a:lnTo>
                <a:lnTo>
                  <a:pt x="12186000" y="6858000"/>
                </a:lnTo>
                <a:lnTo>
                  <a:pt x="0" y="6858000"/>
                </a:lnTo>
                <a:lnTo>
                  <a:pt x="0" y="4904066"/>
                </a:lnTo>
                <a:lnTo>
                  <a:pt x="1584" y="4891638"/>
                </a:lnTo>
                <a:lnTo>
                  <a:pt x="405886" y="5534937"/>
                </a:lnTo>
                <a:lnTo>
                  <a:pt x="1060197" y="4490729"/>
                </a:lnTo>
                <a:lnTo>
                  <a:pt x="4031527" y="4490729"/>
                </a:lnTo>
                <a:lnTo>
                  <a:pt x="5218936" y="2600672"/>
                </a:lnTo>
                <a:lnTo>
                  <a:pt x="6100006" y="260067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de-DE"/>
              <a:t>Bild durch Klicken auf Symbol hinzufügen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E06200C7-3B76-A44D-E941-30128673D3C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8328248" cy="5545224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7855CF3A-8745-495B-9FFE-CE92A5F4D68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478800" y="476672"/>
            <a:ext cx="5617200" cy="1944000"/>
          </a:xfrm>
        </p:spPr>
        <p:txBody>
          <a:bodyPr lIns="0" anchor="t" anchorCtr="0"/>
          <a:lstStyle>
            <a:lvl1pPr algn="l"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/>
              <a:t>Edi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931B0A1-8DE4-4F87-9296-AE72B35697A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78800" y="2600672"/>
            <a:ext cx="4249048" cy="504000"/>
          </a:xfrm>
        </p:spPr>
        <p:txBody>
          <a:bodyPr lIns="0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9pPr>
          </a:lstStyle>
          <a:p>
            <a:r>
              <a:rPr lang="de-DE" err="1"/>
              <a:t>Subtitle</a:t>
            </a:r>
            <a:r>
              <a:rPr lang="de-DE"/>
              <a:t> | </a:t>
            </a:r>
            <a:r>
              <a:rPr lang="de-DE" err="1"/>
              <a:t>Author</a:t>
            </a:r>
            <a:r>
              <a:rPr lang="de-DE"/>
              <a:t> | Place | Date</a:t>
            </a:r>
          </a:p>
        </p:txBody>
      </p:sp>
      <p:sp>
        <p:nvSpPr>
          <p:cNvPr id="4" name="Bildplatzhalter 8">
            <a:extLst>
              <a:ext uri="{FF2B5EF4-FFF2-40B4-BE49-F238E27FC236}">
                <a16:creationId xmlns:a16="http://schemas.microsoft.com/office/drawing/2014/main" id="{29AE04C1-F35C-3875-98D0-027CF21EAA5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5999" y="3495614"/>
            <a:ext cx="3585600" cy="4680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16333425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3_Titel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D490A714-F82C-4544-9605-E188B85C25D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black">
          <a:xfrm>
            <a:off x="-3201" y="0"/>
            <a:ext cx="12211827" cy="6861600"/>
          </a:xfrm>
          <a:custGeom>
            <a:avLst/>
            <a:gdLst>
              <a:gd name="connsiteX0" fmla="*/ 12196800 w 12211827"/>
              <a:gd name="connsiteY0" fmla="*/ 0 h 6861600"/>
              <a:gd name="connsiteX1" fmla="*/ 12211827 w 12211827"/>
              <a:gd name="connsiteY1" fmla="*/ 0 h 6861600"/>
              <a:gd name="connsiteX2" fmla="*/ 12206188 w 12211827"/>
              <a:gd name="connsiteY2" fmla="*/ 2861059 h 6861600"/>
              <a:gd name="connsiteX3" fmla="*/ 12196800 w 12211827"/>
              <a:gd name="connsiteY3" fmla="*/ 2876054 h 6861600"/>
              <a:gd name="connsiteX4" fmla="*/ 0 w 12211827"/>
              <a:gd name="connsiteY4" fmla="*/ 0 h 6861600"/>
              <a:gd name="connsiteX5" fmla="*/ 4561858 w 12211827"/>
              <a:gd name="connsiteY5" fmla="*/ 0 h 6861600"/>
              <a:gd name="connsiteX6" fmla="*/ 5342490 w 12211827"/>
              <a:gd name="connsiteY6" fmla="*/ 1248953 h 6861600"/>
              <a:gd name="connsiteX7" fmla="*/ 4631363 w 12211827"/>
              <a:gd name="connsiteY7" fmla="*/ 1249629 h 6861600"/>
              <a:gd name="connsiteX8" fmla="*/ 7965717 w 12211827"/>
              <a:gd name="connsiteY8" fmla="*/ 6586007 h 6861600"/>
              <a:gd name="connsiteX9" fmla="*/ 8925461 w 12211827"/>
              <a:gd name="connsiteY9" fmla="*/ 5044638 h 6861600"/>
              <a:gd name="connsiteX10" fmla="*/ 9503461 w 12211827"/>
              <a:gd name="connsiteY10" fmla="*/ 5970780 h 6861600"/>
              <a:gd name="connsiteX11" fmla="*/ 10337601 w 12211827"/>
              <a:gd name="connsiteY11" fmla="*/ 4619560 h 6861600"/>
              <a:gd name="connsiteX12" fmla="*/ 11103242 w 12211827"/>
              <a:gd name="connsiteY12" fmla="*/ 4622713 h 6861600"/>
              <a:gd name="connsiteX13" fmla="*/ 12196800 w 12211827"/>
              <a:gd name="connsiteY13" fmla="*/ 2876054 h 6861600"/>
              <a:gd name="connsiteX14" fmla="*/ 12196800 w 12211827"/>
              <a:gd name="connsiteY14" fmla="*/ 6861600 h 6861600"/>
              <a:gd name="connsiteX15" fmla="*/ 0 w 12211827"/>
              <a:gd name="connsiteY15" fmla="*/ 6861600 h 686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211827" h="6861600">
                <a:moveTo>
                  <a:pt x="12196800" y="0"/>
                </a:moveTo>
                <a:lnTo>
                  <a:pt x="12211827" y="0"/>
                </a:lnTo>
                <a:cubicBezTo>
                  <a:pt x="12209947" y="959548"/>
                  <a:pt x="12208068" y="1901511"/>
                  <a:pt x="12206188" y="2861059"/>
                </a:cubicBezTo>
                <a:lnTo>
                  <a:pt x="12196800" y="2876054"/>
                </a:lnTo>
                <a:close/>
                <a:moveTo>
                  <a:pt x="0" y="0"/>
                </a:moveTo>
                <a:lnTo>
                  <a:pt x="4561858" y="0"/>
                </a:lnTo>
                <a:lnTo>
                  <a:pt x="5342490" y="1248953"/>
                </a:lnTo>
                <a:lnTo>
                  <a:pt x="4631363" y="1249629"/>
                </a:lnTo>
                <a:lnTo>
                  <a:pt x="7965717" y="6586007"/>
                </a:lnTo>
                <a:lnTo>
                  <a:pt x="8925461" y="5044638"/>
                </a:lnTo>
                <a:lnTo>
                  <a:pt x="9503461" y="5970780"/>
                </a:lnTo>
                <a:lnTo>
                  <a:pt x="10337601" y="4619560"/>
                </a:lnTo>
                <a:lnTo>
                  <a:pt x="11103242" y="4622713"/>
                </a:lnTo>
                <a:lnTo>
                  <a:pt x="12196800" y="2876054"/>
                </a:lnTo>
                <a:lnTo>
                  <a:pt x="12196800" y="6861600"/>
                </a:lnTo>
                <a:lnTo>
                  <a:pt x="0" y="68616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de-DE"/>
              <a:t>Bild durch Klicken auf Symbol hinzufügen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D0BAE01F-AC32-F336-9394-9543406532E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flipH="1">
            <a:off x="2279576" y="0"/>
            <a:ext cx="9912424" cy="6600021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7855CF3A-8745-495B-9FFE-CE92A5F4D68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6119376" y="476672"/>
            <a:ext cx="5617200" cy="1944000"/>
          </a:xfrm>
        </p:spPr>
        <p:txBody>
          <a:bodyPr lIns="0" anchor="t" anchorCtr="0"/>
          <a:lstStyle>
            <a:lvl1pPr algn="r"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/>
              <a:t>Edi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931B0A1-8DE4-4F87-9296-AE72B35697A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7487528" y="2600672"/>
            <a:ext cx="4249048" cy="504000"/>
          </a:xfrm>
        </p:spPr>
        <p:txBody>
          <a:bodyPr lIns="0">
            <a:noAutofit/>
          </a:bodyPr>
          <a:lstStyle>
            <a:lvl1pPr marL="0" indent="0" algn="r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9pPr>
          </a:lstStyle>
          <a:p>
            <a:r>
              <a:rPr lang="de-DE" err="1"/>
              <a:t>Subtitle</a:t>
            </a:r>
            <a:r>
              <a:rPr lang="de-DE"/>
              <a:t> | </a:t>
            </a:r>
            <a:r>
              <a:rPr lang="de-DE" err="1"/>
              <a:t>Author</a:t>
            </a:r>
            <a:r>
              <a:rPr lang="de-DE"/>
              <a:t> | Place | Date</a:t>
            </a:r>
          </a:p>
        </p:txBody>
      </p:sp>
      <p:sp>
        <p:nvSpPr>
          <p:cNvPr id="11" name="Bildplatzhalter 8">
            <a:extLst>
              <a:ext uri="{FF2B5EF4-FFF2-40B4-BE49-F238E27FC236}">
                <a16:creationId xmlns:a16="http://schemas.microsoft.com/office/drawing/2014/main" id="{0EBD637C-86B0-FCB7-C578-9F68D1ED4BC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85999" y="5833800"/>
            <a:ext cx="3585600" cy="4680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428098306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A425B95-45FB-1045-A813-D4C7943A82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478800" y="6453000"/>
            <a:ext cx="9326146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 kern="9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T-Systems India - Digital Solutions </a:t>
            </a:r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F9914B4-2DC7-EE47-A93E-DB731E11490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11442000" y="6453000"/>
            <a:ext cx="252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A1A5E10D-79A5-49BA-9648-53481340C65F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5276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4CF5EE6-FFD8-44FD-9C80-95B68F34D2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78800" y="405000"/>
            <a:ext cx="11209946" cy="720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de-DE"/>
              <a:t>Headline </a:t>
            </a:r>
            <a:r>
              <a:rPr lang="de-DE" err="1"/>
              <a:t>single</a:t>
            </a:r>
            <a:r>
              <a:rPr lang="de-DE"/>
              <a:t> </a:t>
            </a:r>
            <a:r>
              <a:rPr lang="de-DE" err="1"/>
              <a:t>line</a:t>
            </a:r>
            <a:r>
              <a:rPr lang="de-DE"/>
              <a:t> 40pt. (</a:t>
            </a:r>
            <a:r>
              <a:rPr lang="de-DE" err="1"/>
              <a:t>two</a:t>
            </a:r>
            <a:r>
              <a:rPr lang="de-DE"/>
              <a:t> </a:t>
            </a:r>
            <a:r>
              <a:rPr lang="de-DE" err="1"/>
              <a:t>lines</a:t>
            </a:r>
            <a:r>
              <a:rPr lang="de-DE"/>
              <a:t> 24pt.)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2422070A-7303-4B7F-93D4-191685839B59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black">
          <a:xfrm>
            <a:off x="478800" y="1484313"/>
            <a:ext cx="3600575" cy="4752000"/>
          </a:xfrm>
        </p:spPr>
        <p:txBody>
          <a:bodyPr>
            <a:noAutofit/>
          </a:bodyPr>
          <a:lstStyle/>
          <a:p>
            <a:pPr lvl="0"/>
            <a:r>
              <a:rPr lang="de-DE"/>
              <a:t>Edi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  <a:p>
            <a:pPr lvl="1"/>
            <a:r>
              <a:rPr lang="de-DE"/>
              <a:t>Level 2</a:t>
            </a:r>
          </a:p>
          <a:p>
            <a:pPr lvl="2"/>
            <a:r>
              <a:rPr lang="de-DE"/>
              <a:t>Level 3</a:t>
            </a:r>
          </a:p>
          <a:p>
            <a:pPr lvl="3"/>
            <a:r>
              <a:rPr lang="de-DE"/>
              <a:t>Level 4</a:t>
            </a:r>
          </a:p>
          <a:p>
            <a:pPr lvl="4"/>
            <a:r>
              <a:rPr lang="de-DE"/>
              <a:t>Level 5</a:t>
            </a:r>
          </a:p>
        </p:txBody>
      </p:sp>
      <p:sp>
        <p:nvSpPr>
          <p:cNvPr id="11" name="Inhaltsplatzhalter 10">
            <a:extLst>
              <a:ext uri="{FF2B5EF4-FFF2-40B4-BE49-F238E27FC236}">
                <a16:creationId xmlns:a16="http://schemas.microsoft.com/office/drawing/2014/main" id="{7D9598B6-CEA7-42C6-8376-9C8FFAD9B4C1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 bwMode="black">
          <a:xfrm>
            <a:off x="4223425" y="1484313"/>
            <a:ext cx="3600575" cy="4752000"/>
          </a:xfrm>
        </p:spPr>
        <p:txBody>
          <a:bodyPr>
            <a:noAutofit/>
          </a:bodyPr>
          <a:lstStyle/>
          <a:p>
            <a:pPr lvl="0"/>
            <a:r>
              <a:rPr lang="de-DE"/>
              <a:t>Edi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  <a:p>
            <a:pPr lvl="1"/>
            <a:r>
              <a:rPr lang="de-DE"/>
              <a:t>Level 2</a:t>
            </a:r>
          </a:p>
          <a:p>
            <a:pPr lvl="2"/>
            <a:r>
              <a:rPr lang="de-DE"/>
              <a:t>Level 3</a:t>
            </a:r>
          </a:p>
          <a:p>
            <a:pPr lvl="3"/>
            <a:r>
              <a:rPr lang="de-DE"/>
              <a:t>Level 4</a:t>
            </a:r>
          </a:p>
          <a:p>
            <a:pPr lvl="4"/>
            <a:r>
              <a:rPr lang="de-DE"/>
              <a:t>Level 5</a:t>
            </a:r>
          </a:p>
        </p:txBody>
      </p:sp>
      <p:sp>
        <p:nvSpPr>
          <p:cNvPr id="13" name="Inhaltsplatzhalter 12">
            <a:extLst>
              <a:ext uri="{FF2B5EF4-FFF2-40B4-BE49-F238E27FC236}">
                <a16:creationId xmlns:a16="http://schemas.microsoft.com/office/drawing/2014/main" id="{508F3AD6-ECB1-46C4-8C4D-7E86183245A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 bwMode="black">
          <a:xfrm>
            <a:off x="7967425" y="1484313"/>
            <a:ext cx="3600575" cy="4752000"/>
          </a:xfrm>
        </p:spPr>
        <p:txBody>
          <a:bodyPr>
            <a:noAutofit/>
          </a:bodyPr>
          <a:lstStyle/>
          <a:p>
            <a:pPr lvl="0"/>
            <a:r>
              <a:rPr lang="de-DE"/>
              <a:t>Edi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  <a:p>
            <a:pPr lvl="1"/>
            <a:r>
              <a:rPr lang="de-DE"/>
              <a:t>Level 2</a:t>
            </a:r>
          </a:p>
          <a:p>
            <a:pPr lvl="2"/>
            <a:r>
              <a:rPr lang="de-DE"/>
              <a:t>Level 3</a:t>
            </a:r>
          </a:p>
          <a:p>
            <a:pPr lvl="3"/>
            <a:r>
              <a:rPr lang="de-DE"/>
              <a:t>Level 4</a:t>
            </a:r>
          </a:p>
          <a:p>
            <a:pPr lvl="4"/>
            <a:r>
              <a:rPr lang="de-DE"/>
              <a:t>Level 5</a:t>
            </a:r>
          </a:p>
        </p:txBody>
      </p:sp>
      <p:sp>
        <p:nvSpPr>
          <p:cNvPr id="9" name="Fußzeilenplatzhalter 4">
            <a:extLst>
              <a:ext uri="{FF2B5EF4-FFF2-40B4-BE49-F238E27FC236}">
                <a16:creationId xmlns:a16="http://schemas.microsoft.com/office/drawing/2014/main" id="{54FFA8FD-DF30-DB4C-95C3-B236789F47E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478800" y="6453000"/>
            <a:ext cx="9326146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 kern="9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T-Systems India - Digital Solutions </a:t>
            </a:r>
            <a:endParaRPr lang="de-DE"/>
          </a:p>
        </p:txBody>
      </p:sp>
      <p:sp>
        <p:nvSpPr>
          <p:cNvPr id="10" name="Foliennummernplatzhalter 5">
            <a:extLst>
              <a:ext uri="{FF2B5EF4-FFF2-40B4-BE49-F238E27FC236}">
                <a16:creationId xmlns:a16="http://schemas.microsoft.com/office/drawing/2014/main" id="{969C899A-3A81-3D49-BD5A-0DAC790844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11442000" y="6453000"/>
            <a:ext cx="252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A1A5E10D-79A5-49BA-9648-53481340C65F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55727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4BE4F56-CAAF-476E-A2B9-F1A0D25C8BAC}"/>
              </a:ext>
            </a:extLst>
          </p:cNvPr>
          <p:cNvSpPr>
            <a:spLocks noGrp="1"/>
          </p:cNvSpPr>
          <p:nvPr>
            <p:ph type="title" sz="quarter" hasCustomPrompt="1"/>
          </p:nvPr>
        </p:nvSpPr>
        <p:spPr bwMode="black">
          <a:xfrm>
            <a:off x="478800" y="405000"/>
            <a:ext cx="11209946" cy="720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de-DE"/>
              <a:t>Headline </a:t>
            </a:r>
            <a:r>
              <a:rPr lang="de-DE" err="1"/>
              <a:t>single</a:t>
            </a:r>
            <a:r>
              <a:rPr lang="de-DE"/>
              <a:t> </a:t>
            </a:r>
            <a:r>
              <a:rPr lang="de-DE" err="1"/>
              <a:t>line</a:t>
            </a:r>
            <a:r>
              <a:rPr lang="de-DE"/>
              <a:t> 40pt. (</a:t>
            </a:r>
            <a:r>
              <a:rPr lang="de-DE" err="1"/>
              <a:t>two</a:t>
            </a:r>
            <a:r>
              <a:rPr lang="de-DE"/>
              <a:t> </a:t>
            </a:r>
            <a:r>
              <a:rPr lang="de-DE" err="1"/>
              <a:t>lines</a:t>
            </a:r>
            <a:r>
              <a:rPr lang="de-DE"/>
              <a:t> 24pt.)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4B6057D-AA55-47BF-A331-2E2648C311B9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black">
          <a:xfrm>
            <a:off x="478800" y="1484313"/>
            <a:ext cx="2664575" cy="4752000"/>
          </a:xfrm>
        </p:spPr>
        <p:txBody>
          <a:bodyPr>
            <a:noAutofit/>
          </a:bodyPr>
          <a:lstStyle/>
          <a:p>
            <a:pPr lvl="0"/>
            <a:r>
              <a:rPr lang="de-DE"/>
              <a:t>Edi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  <a:p>
            <a:pPr lvl="1"/>
            <a:r>
              <a:rPr lang="de-DE"/>
              <a:t>Level 2</a:t>
            </a:r>
          </a:p>
          <a:p>
            <a:pPr lvl="2"/>
            <a:r>
              <a:rPr lang="de-DE"/>
              <a:t>Level 3</a:t>
            </a:r>
          </a:p>
          <a:p>
            <a:pPr lvl="3"/>
            <a:r>
              <a:rPr lang="de-DE"/>
              <a:t>Level 4</a:t>
            </a:r>
          </a:p>
          <a:p>
            <a:pPr lvl="4"/>
            <a:r>
              <a:rPr lang="de-DE"/>
              <a:t>Level 5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7D73B4FC-B74D-4CE7-B959-B58A486BFB4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 bwMode="black">
          <a:xfrm>
            <a:off x="3287425" y="1484313"/>
            <a:ext cx="2664575" cy="4752000"/>
          </a:xfrm>
        </p:spPr>
        <p:txBody>
          <a:bodyPr>
            <a:noAutofit/>
          </a:bodyPr>
          <a:lstStyle/>
          <a:p>
            <a:pPr lvl="0"/>
            <a:r>
              <a:rPr lang="de-DE"/>
              <a:t>Edi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  <a:p>
            <a:pPr lvl="1"/>
            <a:r>
              <a:rPr lang="de-DE"/>
              <a:t>Level 2</a:t>
            </a:r>
          </a:p>
          <a:p>
            <a:pPr lvl="2"/>
            <a:r>
              <a:rPr lang="de-DE"/>
              <a:t>Level 3</a:t>
            </a:r>
          </a:p>
          <a:p>
            <a:pPr lvl="3"/>
            <a:r>
              <a:rPr lang="de-DE"/>
              <a:t>Level 4</a:t>
            </a:r>
          </a:p>
          <a:p>
            <a:pPr lvl="4"/>
            <a:r>
              <a:rPr lang="de-DE"/>
              <a:t>Level 5</a:t>
            </a: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5C02444F-BCE5-47EE-A8CF-C44F258655A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 bwMode="black">
          <a:xfrm>
            <a:off x="6095425" y="1484313"/>
            <a:ext cx="2664575" cy="4752000"/>
          </a:xfrm>
        </p:spPr>
        <p:txBody>
          <a:bodyPr>
            <a:noAutofit/>
          </a:bodyPr>
          <a:lstStyle/>
          <a:p>
            <a:pPr lvl="0"/>
            <a:r>
              <a:rPr lang="de-DE"/>
              <a:t>Edi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  <a:p>
            <a:pPr lvl="1"/>
            <a:r>
              <a:rPr lang="de-DE"/>
              <a:t>Level 2</a:t>
            </a:r>
          </a:p>
          <a:p>
            <a:pPr lvl="2"/>
            <a:r>
              <a:rPr lang="de-DE"/>
              <a:t>Level 3</a:t>
            </a:r>
          </a:p>
          <a:p>
            <a:pPr lvl="3"/>
            <a:r>
              <a:rPr lang="de-DE"/>
              <a:t>Level 4</a:t>
            </a:r>
          </a:p>
          <a:p>
            <a:pPr lvl="4"/>
            <a:r>
              <a:rPr lang="de-DE"/>
              <a:t>Level 5</a:t>
            </a:r>
          </a:p>
        </p:txBody>
      </p:sp>
      <p:sp>
        <p:nvSpPr>
          <p:cNvPr id="14" name="Inhaltsplatzhalter 13">
            <a:extLst>
              <a:ext uri="{FF2B5EF4-FFF2-40B4-BE49-F238E27FC236}">
                <a16:creationId xmlns:a16="http://schemas.microsoft.com/office/drawing/2014/main" id="{747D8B36-797B-4379-B1D3-EFD569BF81EF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 bwMode="black">
          <a:xfrm>
            <a:off x="8903425" y="1484313"/>
            <a:ext cx="2664575" cy="4752000"/>
          </a:xfrm>
        </p:spPr>
        <p:txBody>
          <a:bodyPr>
            <a:noAutofit/>
          </a:bodyPr>
          <a:lstStyle/>
          <a:p>
            <a:pPr lvl="0"/>
            <a:r>
              <a:rPr lang="de-DE"/>
              <a:t>Edi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  <a:p>
            <a:pPr lvl="1"/>
            <a:r>
              <a:rPr lang="de-DE"/>
              <a:t>Level 2</a:t>
            </a:r>
          </a:p>
          <a:p>
            <a:pPr lvl="2"/>
            <a:r>
              <a:rPr lang="de-DE"/>
              <a:t>Level 3</a:t>
            </a:r>
          </a:p>
          <a:p>
            <a:pPr lvl="3"/>
            <a:r>
              <a:rPr lang="de-DE"/>
              <a:t>Level 4</a:t>
            </a:r>
          </a:p>
          <a:p>
            <a:pPr lvl="4"/>
            <a:r>
              <a:rPr lang="de-DE"/>
              <a:t>Level 5</a:t>
            </a:r>
          </a:p>
        </p:txBody>
      </p:sp>
      <p:sp>
        <p:nvSpPr>
          <p:cNvPr id="11" name="Fußzeilenplatzhalter 4">
            <a:extLst>
              <a:ext uri="{FF2B5EF4-FFF2-40B4-BE49-F238E27FC236}">
                <a16:creationId xmlns:a16="http://schemas.microsoft.com/office/drawing/2014/main" id="{4B858102-E82B-0E45-91EA-2D391B118D0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478800" y="6453000"/>
            <a:ext cx="9326146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 kern="9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T-Systems India - Digital Solutions </a:t>
            </a:r>
            <a:endParaRPr lang="de-DE"/>
          </a:p>
        </p:txBody>
      </p:sp>
      <p:sp>
        <p:nvSpPr>
          <p:cNvPr id="12" name="Foliennummernplatzhalter 5">
            <a:extLst>
              <a:ext uri="{FF2B5EF4-FFF2-40B4-BE49-F238E27FC236}">
                <a16:creationId xmlns:a16="http://schemas.microsoft.com/office/drawing/2014/main" id="{A6165899-3423-8E4D-BD64-B8AD65DA212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11442000" y="6453000"/>
            <a:ext cx="252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A1A5E10D-79A5-49BA-9648-53481340C65F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4682552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93F1334-0C30-417F-8C36-14E54C69E5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>
            <a:noAutofit/>
          </a:bodyPr>
          <a:lstStyle>
            <a:lvl1pPr>
              <a:defRPr/>
            </a:lvl1pPr>
          </a:lstStyle>
          <a:p>
            <a:r>
              <a:rPr lang="de-DE"/>
              <a:t>Headline </a:t>
            </a:r>
            <a:r>
              <a:rPr lang="de-DE" err="1"/>
              <a:t>single</a:t>
            </a:r>
            <a:r>
              <a:rPr lang="de-DE"/>
              <a:t> </a:t>
            </a:r>
            <a:r>
              <a:rPr lang="de-DE" err="1"/>
              <a:t>line</a:t>
            </a:r>
            <a:r>
              <a:rPr lang="de-DE"/>
              <a:t> 40pt. (</a:t>
            </a:r>
            <a:r>
              <a:rPr lang="de-DE" err="1"/>
              <a:t>two</a:t>
            </a:r>
            <a:r>
              <a:rPr lang="de-DE"/>
              <a:t> </a:t>
            </a:r>
            <a:r>
              <a:rPr lang="de-DE" err="1"/>
              <a:t>lines</a:t>
            </a:r>
            <a:r>
              <a:rPr lang="de-DE"/>
              <a:t> 24pt.)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2390C6A2-43FF-4452-B80E-84686F69C3A3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black">
          <a:xfrm>
            <a:off x="479425" y="1484588"/>
            <a:ext cx="5472559" cy="4752000"/>
          </a:xfrm>
        </p:spPr>
        <p:txBody>
          <a:bodyPr>
            <a:noAutofit/>
          </a:bodyPr>
          <a:lstStyle/>
          <a:p>
            <a:pPr lvl="0"/>
            <a:r>
              <a:rPr lang="de-DE"/>
              <a:t>Edi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  <a:p>
            <a:pPr lvl="1"/>
            <a:r>
              <a:rPr lang="de-DE"/>
              <a:t>Level 2</a:t>
            </a:r>
          </a:p>
          <a:p>
            <a:pPr lvl="2"/>
            <a:r>
              <a:rPr lang="de-DE"/>
              <a:t>Level 3</a:t>
            </a:r>
          </a:p>
          <a:p>
            <a:pPr lvl="3"/>
            <a:r>
              <a:rPr lang="de-DE"/>
              <a:t>Level 4</a:t>
            </a:r>
          </a:p>
          <a:p>
            <a:pPr lvl="4"/>
            <a:r>
              <a:rPr lang="de-DE"/>
              <a:t>Level 5</a:t>
            </a:r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3F103CA9-8AD6-4544-B697-066657410F7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478800" y="6453000"/>
            <a:ext cx="9326146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 kern="9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T-Systems India - Digital Solutions </a:t>
            </a:r>
            <a:endParaRPr lang="de-DE"/>
          </a:p>
        </p:txBody>
      </p:sp>
      <p:sp>
        <p:nvSpPr>
          <p:cNvPr id="11" name="Foliennummernplatzhalter 5">
            <a:extLst>
              <a:ext uri="{FF2B5EF4-FFF2-40B4-BE49-F238E27FC236}">
                <a16:creationId xmlns:a16="http://schemas.microsoft.com/office/drawing/2014/main" id="{A3B185D1-49A3-7546-950C-C093993A8B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11442000" y="6453000"/>
            <a:ext cx="252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A1A5E10D-79A5-49BA-9648-53481340C65F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3" name="Bildplatzhalter 9">
            <a:extLst>
              <a:ext uri="{FF2B5EF4-FFF2-40B4-BE49-F238E27FC236}">
                <a16:creationId xmlns:a16="http://schemas.microsoft.com/office/drawing/2014/main" id="{0DE0DDC8-3A1C-0B81-7816-706940B506A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6078476" y="1484313"/>
            <a:ext cx="6114740" cy="4752000"/>
          </a:xfrm>
        </p:spPr>
        <p:txBody>
          <a:bodyPr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tabLst>
                <a:tab pos="2687638" algn="l"/>
              </a:tabLst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4"/>
            <a:r>
              <a:rPr lang="de-DE"/>
              <a:t>Bild einfügen</a:t>
            </a:r>
          </a:p>
        </p:txBody>
      </p:sp>
    </p:spTree>
    <p:extLst>
      <p:ext uri="{BB962C8B-B14F-4D97-AF65-F5344CB8AC3E}">
        <p14:creationId xmlns:p14="http://schemas.microsoft.com/office/powerpoint/2010/main" val="21676295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with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9">
            <a:extLst>
              <a:ext uri="{FF2B5EF4-FFF2-40B4-BE49-F238E27FC236}">
                <a16:creationId xmlns:a16="http://schemas.microsoft.com/office/drawing/2014/main" id="{0368C5BA-50D6-F8E7-2DE7-A0AA8E4218D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7824192" y="0"/>
            <a:ext cx="4369024" cy="6858000"/>
          </a:xfrm>
        </p:spPr>
        <p:txBody>
          <a:bodyPr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tabLst>
                <a:tab pos="2687638" algn="l"/>
              </a:tabLst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4"/>
            <a:r>
              <a:rPr lang="de-DE"/>
              <a:t>Bild ein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93F1334-0C30-417F-8C36-14E54C69E5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78800" y="405000"/>
            <a:ext cx="7128743" cy="720000"/>
          </a:xfrm>
        </p:spPr>
        <p:txBody>
          <a:bodyPr>
            <a:noAutofit/>
          </a:bodyPr>
          <a:lstStyle>
            <a:lvl1pPr>
              <a:defRPr sz="2400"/>
            </a:lvl1pPr>
          </a:lstStyle>
          <a:p>
            <a:r>
              <a:rPr lang="de-DE"/>
              <a:t>Headline </a:t>
            </a:r>
            <a:r>
              <a:rPr lang="de-DE" err="1"/>
              <a:t>two</a:t>
            </a:r>
            <a:r>
              <a:rPr lang="de-DE"/>
              <a:t> </a:t>
            </a:r>
            <a:r>
              <a:rPr lang="de-DE" err="1"/>
              <a:t>lines</a:t>
            </a:r>
            <a:r>
              <a:rPr lang="de-DE"/>
              <a:t> 24pt</a:t>
            </a:r>
            <a:br>
              <a:rPr lang="de-DE"/>
            </a:br>
            <a:r>
              <a:rPr lang="de-DE"/>
              <a:t>Headline </a:t>
            </a:r>
            <a:r>
              <a:rPr lang="de-DE" err="1"/>
              <a:t>two</a:t>
            </a:r>
            <a:r>
              <a:rPr lang="de-DE"/>
              <a:t> </a:t>
            </a:r>
            <a:r>
              <a:rPr lang="de-DE" err="1"/>
              <a:t>lines</a:t>
            </a:r>
            <a:r>
              <a:rPr lang="de-DE"/>
              <a:t> 24pt Headline </a:t>
            </a:r>
            <a:r>
              <a:rPr lang="de-DE" err="1"/>
              <a:t>two</a:t>
            </a:r>
            <a:r>
              <a:rPr lang="de-DE"/>
              <a:t> </a:t>
            </a:r>
            <a:r>
              <a:rPr lang="de-DE" err="1"/>
              <a:t>lines</a:t>
            </a:r>
            <a:r>
              <a:rPr lang="de-DE"/>
              <a:t> 24pt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2390C6A2-43FF-4452-B80E-84686F69C3A3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black">
          <a:xfrm>
            <a:off x="479425" y="1484588"/>
            <a:ext cx="7128743" cy="4752000"/>
          </a:xfrm>
        </p:spPr>
        <p:txBody>
          <a:bodyPr>
            <a:noAutofit/>
          </a:bodyPr>
          <a:lstStyle/>
          <a:p>
            <a:pPr lvl="0"/>
            <a:r>
              <a:rPr lang="de-DE"/>
              <a:t>Edi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  <a:p>
            <a:pPr lvl="1"/>
            <a:r>
              <a:rPr lang="de-DE"/>
              <a:t>Level 2</a:t>
            </a:r>
          </a:p>
          <a:p>
            <a:pPr lvl="2"/>
            <a:r>
              <a:rPr lang="de-DE"/>
              <a:t>Level 3</a:t>
            </a:r>
          </a:p>
          <a:p>
            <a:pPr lvl="3"/>
            <a:r>
              <a:rPr lang="de-DE"/>
              <a:t>Level 4</a:t>
            </a:r>
          </a:p>
          <a:p>
            <a:pPr lvl="4"/>
            <a:r>
              <a:rPr lang="de-DE"/>
              <a:t>Level 5</a:t>
            </a:r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3F103CA9-8AD6-4544-B697-066657410F7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478800" y="6453000"/>
            <a:ext cx="9326146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 kern="9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T-Systems India - Digital Solutions </a:t>
            </a:r>
            <a:endParaRPr lang="de-DE"/>
          </a:p>
        </p:txBody>
      </p:sp>
      <p:sp>
        <p:nvSpPr>
          <p:cNvPr id="11" name="Foliennummernplatzhalter 5">
            <a:extLst>
              <a:ext uri="{FF2B5EF4-FFF2-40B4-BE49-F238E27FC236}">
                <a16:creationId xmlns:a16="http://schemas.microsoft.com/office/drawing/2014/main" id="{A3B185D1-49A3-7546-950C-C093993A8B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11442000" y="6453000"/>
            <a:ext cx="252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A1A5E10D-79A5-49BA-9648-53481340C65F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200057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el 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>
            <a:extLst>
              <a:ext uri="{FF2B5EF4-FFF2-40B4-BE49-F238E27FC236}">
                <a16:creationId xmlns:a16="http://schemas.microsoft.com/office/drawing/2014/main" id="{F4EDC520-2258-154A-BE9D-E07DDEB4387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303200" y="5833800"/>
            <a:ext cx="3585600" cy="468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855CF3A-8745-495B-9FFE-CE92A5F4D68B}"/>
              </a:ext>
            </a:extLst>
          </p:cNvPr>
          <p:cNvSpPr>
            <a:spLocks noGrp="1"/>
          </p:cNvSpPr>
          <p:nvPr>
            <p:ph type="ctrTitle"/>
          </p:nvPr>
        </p:nvSpPr>
        <p:spPr bwMode="black">
          <a:xfrm>
            <a:off x="478799" y="1988840"/>
            <a:ext cx="11233775" cy="1944000"/>
          </a:xfrm>
        </p:spPr>
        <p:txBody>
          <a:bodyPr lIns="0" anchor="ctr" anchorCtr="1"/>
          <a:lstStyle>
            <a:lvl1pPr algn="l"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931B0A1-8DE4-4F87-9296-AE72B35697A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78800" y="4112840"/>
            <a:ext cx="11233774" cy="504000"/>
          </a:xfrm>
        </p:spPr>
        <p:txBody>
          <a:bodyPr lIns="0" anchor="ctr" anchorCtr="1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9pPr>
          </a:lstStyle>
          <a:p>
            <a:r>
              <a:rPr lang="de-DE"/>
              <a:t>Untertitel | Autor*in | Ort | Datum</a:t>
            </a:r>
          </a:p>
        </p:txBody>
      </p:sp>
    </p:spTree>
    <p:extLst>
      <p:ext uri="{BB962C8B-B14F-4D97-AF65-F5344CB8AC3E}">
        <p14:creationId xmlns:p14="http://schemas.microsoft.com/office/powerpoint/2010/main" val="319478772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with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9">
            <a:extLst>
              <a:ext uri="{FF2B5EF4-FFF2-40B4-BE49-F238E27FC236}">
                <a16:creationId xmlns:a16="http://schemas.microsoft.com/office/drawing/2014/main" id="{10749D59-B86D-D4A0-AAFA-48A00F19AEE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7104112" y="0"/>
            <a:ext cx="5089104" cy="6858000"/>
          </a:xfrm>
        </p:spPr>
        <p:txBody>
          <a:bodyPr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tabLst>
                <a:tab pos="2687638" algn="l"/>
              </a:tabLst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4"/>
            <a:r>
              <a:rPr lang="de-DE"/>
              <a:t>Bild ein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93F1334-0C30-417F-8C36-14E54C69E5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78800" y="405000"/>
            <a:ext cx="6409288" cy="720000"/>
          </a:xfrm>
        </p:spPr>
        <p:txBody>
          <a:bodyPr>
            <a:noAutofit/>
          </a:bodyPr>
          <a:lstStyle>
            <a:lvl1pPr>
              <a:defRPr sz="2400"/>
            </a:lvl1pPr>
          </a:lstStyle>
          <a:p>
            <a:r>
              <a:rPr lang="de-DE"/>
              <a:t>Headline </a:t>
            </a:r>
            <a:r>
              <a:rPr lang="de-DE" err="1"/>
              <a:t>two</a:t>
            </a:r>
            <a:r>
              <a:rPr lang="de-DE"/>
              <a:t> </a:t>
            </a:r>
            <a:r>
              <a:rPr lang="de-DE" err="1"/>
              <a:t>lines</a:t>
            </a:r>
            <a:r>
              <a:rPr lang="de-DE"/>
              <a:t> 24pt</a:t>
            </a:r>
            <a:br>
              <a:rPr lang="de-DE"/>
            </a:br>
            <a:r>
              <a:rPr lang="de-DE"/>
              <a:t>Headline </a:t>
            </a:r>
            <a:r>
              <a:rPr lang="de-DE" err="1"/>
              <a:t>two</a:t>
            </a:r>
            <a:r>
              <a:rPr lang="de-DE"/>
              <a:t> </a:t>
            </a:r>
            <a:r>
              <a:rPr lang="de-DE" err="1"/>
              <a:t>lines</a:t>
            </a:r>
            <a:r>
              <a:rPr lang="de-DE"/>
              <a:t> 24pt 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2390C6A2-43FF-4452-B80E-84686F69C3A3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black">
          <a:xfrm>
            <a:off x="479425" y="1484588"/>
            <a:ext cx="6409288" cy="4752000"/>
          </a:xfrm>
        </p:spPr>
        <p:txBody>
          <a:bodyPr>
            <a:noAutofit/>
          </a:bodyPr>
          <a:lstStyle/>
          <a:p>
            <a:pPr lvl="0"/>
            <a:r>
              <a:rPr lang="de-DE"/>
              <a:t>Edi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  <a:p>
            <a:pPr lvl="1"/>
            <a:r>
              <a:rPr lang="de-DE"/>
              <a:t>Level 2</a:t>
            </a:r>
          </a:p>
          <a:p>
            <a:pPr lvl="2"/>
            <a:r>
              <a:rPr lang="de-DE"/>
              <a:t>Level 3</a:t>
            </a:r>
          </a:p>
          <a:p>
            <a:pPr lvl="3"/>
            <a:r>
              <a:rPr lang="de-DE"/>
              <a:t>Level 4</a:t>
            </a:r>
          </a:p>
          <a:p>
            <a:pPr lvl="4"/>
            <a:r>
              <a:rPr lang="de-DE"/>
              <a:t>Level 5</a:t>
            </a:r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3F103CA9-8AD6-4544-B697-066657410F7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478800" y="6453000"/>
            <a:ext cx="9326146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 kern="9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T-Systems India - Digital Solutions </a:t>
            </a:r>
            <a:endParaRPr lang="de-DE"/>
          </a:p>
        </p:txBody>
      </p:sp>
      <p:sp>
        <p:nvSpPr>
          <p:cNvPr id="11" name="Foliennummernplatzhalter 5">
            <a:extLst>
              <a:ext uri="{FF2B5EF4-FFF2-40B4-BE49-F238E27FC236}">
                <a16:creationId xmlns:a16="http://schemas.microsoft.com/office/drawing/2014/main" id="{A3B185D1-49A3-7546-950C-C093993A8B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11442000" y="6453000"/>
            <a:ext cx="252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A1A5E10D-79A5-49BA-9648-53481340C65F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635481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6902E79-B5C3-4A51-9C68-88010755DD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>
            <a:noAutofit/>
          </a:bodyPr>
          <a:lstStyle>
            <a:lvl1pPr>
              <a:defRPr/>
            </a:lvl1pPr>
          </a:lstStyle>
          <a:p>
            <a:r>
              <a:rPr lang="de-DE"/>
              <a:t>Headline </a:t>
            </a:r>
            <a:r>
              <a:rPr lang="de-DE" err="1"/>
              <a:t>single</a:t>
            </a:r>
            <a:r>
              <a:rPr lang="de-DE"/>
              <a:t> </a:t>
            </a:r>
            <a:r>
              <a:rPr lang="de-DE" err="1"/>
              <a:t>line</a:t>
            </a:r>
            <a:r>
              <a:rPr lang="de-DE"/>
              <a:t> 40pt. (</a:t>
            </a:r>
            <a:r>
              <a:rPr lang="de-DE" err="1"/>
              <a:t>two</a:t>
            </a:r>
            <a:r>
              <a:rPr lang="de-DE"/>
              <a:t> </a:t>
            </a:r>
            <a:r>
              <a:rPr lang="de-DE" err="1"/>
              <a:t>lines</a:t>
            </a:r>
            <a:r>
              <a:rPr lang="de-DE"/>
              <a:t> 24pt.)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9CD48E90-58F3-40B4-B97C-453785FBBAB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black">
          <a:xfrm>
            <a:off x="8042901" y="1484313"/>
            <a:ext cx="3525099" cy="4752000"/>
          </a:xfrm>
        </p:spPr>
        <p:txBody>
          <a:bodyPr>
            <a:noAutofit/>
          </a:bodyPr>
          <a:lstStyle>
            <a:lvl5pPr>
              <a:defRPr/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  <a:p>
            <a:pPr lvl="1"/>
            <a:r>
              <a:rPr lang="de-DE"/>
              <a:t>Level 2</a:t>
            </a:r>
          </a:p>
          <a:p>
            <a:pPr lvl="2"/>
            <a:r>
              <a:rPr lang="de-DE"/>
              <a:t>Level 3</a:t>
            </a:r>
          </a:p>
          <a:p>
            <a:pPr lvl="3"/>
            <a:r>
              <a:rPr lang="de-DE"/>
              <a:t>Level 4</a:t>
            </a:r>
          </a:p>
          <a:p>
            <a:pPr lvl="4"/>
            <a:r>
              <a:rPr lang="de-DE"/>
              <a:t>Level 5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A40AE5EC-538A-4BF1-ABC1-3EE1CF9C15F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479426" y="1485312"/>
            <a:ext cx="7344528" cy="4752000"/>
          </a:xfrm>
        </p:spPr>
        <p:txBody>
          <a:bodyPr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tx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tx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tx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tx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tx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tx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tx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lvl="4"/>
            <a:r>
              <a:rPr lang="de-DE"/>
              <a:t>Bild einfügen</a:t>
            </a:r>
          </a:p>
        </p:txBody>
      </p:sp>
      <p:sp>
        <p:nvSpPr>
          <p:cNvPr id="9" name="Fußzeilenplatzhalter 4">
            <a:extLst>
              <a:ext uri="{FF2B5EF4-FFF2-40B4-BE49-F238E27FC236}">
                <a16:creationId xmlns:a16="http://schemas.microsoft.com/office/drawing/2014/main" id="{750F0558-63F2-5B47-888B-1CF890D74C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478800" y="6453000"/>
            <a:ext cx="9326146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 kern="9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T-Systems India - Digital Solutions </a:t>
            </a:r>
            <a:endParaRPr lang="de-DE"/>
          </a:p>
        </p:txBody>
      </p:sp>
      <p:sp>
        <p:nvSpPr>
          <p:cNvPr id="11" name="Foliennummernplatzhalter 5">
            <a:extLst>
              <a:ext uri="{FF2B5EF4-FFF2-40B4-BE49-F238E27FC236}">
                <a16:creationId xmlns:a16="http://schemas.microsoft.com/office/drawing/2014/main" id="{20A08EBA-CCA0-BD45-9DD2-2D2BD71824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11442000" y="6453000"/>
            <a:ext cx="252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A1A5E10D-79A5-49BA-9648-53481340C65F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4525885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Zitatfoli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B3C62B0C-B620-8C84-312F-2F66FEBB1AF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flipH="1">
            <a:off x="2279576" y="0"/>
            <a:ext cx="9912424" cy="6600021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8F2A4CF4-F40B-4E8A-9194-82C4992C32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black">
          <a:xfrm>
            <a:off x="2529376" y="2925000"/>
            <a:ext cx="7742624" cy="2448000"/>
          </a:xfrm>
        </p:spPr>
        <p:txBody>
          <a:bodyPr anchor="ctr">
            <a:noAutofit/>
          </a:bodyPr>
          <a:lstStyle>
            <a:lvl1pPr marL="0" indent="0">
              <a:lnSpc>
                <a:spcPct val="80000"/>
              </a:lnSpc>
              <a:buFont typeface="+mn-lt" panose="020B0604020202020204" pitchFamily="34" charset="0"/>
              <a:buNone/>
              <a:defRPr sz="4000">
                <a:solidFill>
                  <a:schemeClr val="bg1"/>
                </a:solidFill>
                <a:latin typeface="+mj-lt"/>
              </a:defRPr>
            </a:lvl1pPr>
            <a:lvl2pPr marL="0" indent="0" algn="r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Font typeface="+mn-lt" panose="020B0604020202020204" pitchFamily="34" charset="0"/>
              <a:buNone/>
              <a:defRPr sz="1800">
                <a:solidFill>
                  <a:schemeClr val="bg1"/>
                </a:solidFill>
                <a:latin typeface="+mn-lt"/>
              </a:defRPr>
            </a:lvl2pPr>
            <a:lvl3pPr marL="0" indent="0" algn="r">
              <a:lnSpc>
                <a:spcPct val="8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3pPr>
            <a:lvl4pPr marL="0" indent="0" algn="r">
              <a:lnSpc>
                <a:spcPct val="8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4pPr>
            <a:lvl5pPr marL="0" indent="0" algn="r">
              <a:lnSpc>
                <a:spcPct val="8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5pPr>
            <a:lvl6pPr marL="0" indent="0" algn="r">
              <a:lnSpc>
                <a:spcPct val="8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6pPr>
            <a:lvl7pPr marL="0" indent="0" algn="r">
              <a:lnSpc>
                <a:spcPct val="8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7pPr>
            <a:lvl8pPr marL="0" indent="0" algn="r">
              <a:lnSpc>
                <a:spcPct val="8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8pPr>
            <a:lvl9pPr marL="0" indent="0" algn="r">
              <a:lnSpc>
                <a:spcPct val="8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/>
              <a:t>“Here </a:t>
            </a:r>
            <a:r>
              <a:rPr lang="de-DE" err="1"/>
              <a:t>is</a:t>
            </a:r>
            <a:r>
              <a:rPr lang="de-DE"/>
              <a:t> a </a:t>
            </a:r>
            <a:r>
              <a:rPr lang="de-DE" err="1"/>
              <a:t>meaningful</a:t>
            </a:r>
            <a:r>
              <a:rPr lang="de-DE"/>
              <a:t> </a:t>
            </a:r>
            <a:r>
              <a:rPr lang="de-DE" err="1"/>
              <a:t>quote</a:t>
            </a:r>
            <a:r>
              <a:rPr lang="de-DE"/>
              <a:t>, multiple </a:t>
            </a:r>
            <a:r>
              <a:rPr lang="de-DE" err="1"/>
              <a:t>lines</a:t>
            </a:r>
            <a:r>
              <a:rPr lang="de-DE"/>
              <a:t> possible.“</a:t>
            </a:r>
          </a:p>
          <a:p>
            <a:pPr lvl="1"/>
            <a:r>
              <a:rPr lang="de-DE"/>
              <a:t>– </a:t>
            </a:r>
            <a:r>
              <a:rPr lang="de-DE" err="1"/>
              <a:t>Author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430441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780">
          <p15:clr>
            <a:srgbClr val="FBAE40"/>
          </p15:clr>
        </p15:guide>
        <p15:guide id="3" orient="horz" pos="1324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Zitatfoli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1E52D2E6-8898-4E15-08EF-9F1674156E1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8328248" cy="5545224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8F2A4CF4-F40B-4E8A-9194-82C4992C32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black">
          <a:xfrm>
            <a:off x="2529376" y="2925000"/>
            <a:ext cx="7742624" cy="2448000"/>
          </a:xfrm>
        </p:spPr>
        <p:txBody>
          <a:bodyPr anchor="ctr">
            <a:noAutofit/>
          </a:bodyPr>
          <a:lstStyle>
            <a:lvl1pPr marL="0" indent="0">
              <a:lnSpc>
                <a:spcPct val="80000"/>
              </a:lnSpc>
              <a:buFont typeface="+mn-lt" panose="020B0604020202020204" pitchFamily="34" charset="0"/>
              <a:buNone/>
              <a:defRPr sz="4000">
                <a:solidFill>
                  <a:schemeClr val="bg1"/>
                </a:solidFill>
                <a:latin typeface="+mj-lt"/>
              </a:defRPr>
            </a:lvl1pPr>
            <a:lvl2pPr marL="0" indent="0" algn="r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Font typeface="+mn-lt" panose="020B0604020202020204" pitchFamily="34" charset="0"/>
              <a:buNone/>
              <a:defRPr sz="1800">
                <a:solidFill>
                  <a:schemeClr val="bg1"/>
                </a:solidFill>
                <a:latin typeface="+mn-lt"/>
              </a:defRPr>
            </a:lvl2pPr>
            <a:lvl3pPr marL="0" indent="0" algn="r">
              <a:lnSpc>
                <a:spcPct val="8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3pPr>
            <a:lvl4pPr marL="0" indent="0" algn="r">
              <a:lnSpc>
                <a:spcPct val="8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4pPr>
            <a:lvl5pPr marL="0" indent="0" algn="r">
              <a:lnSpc>
                <a:spcPct val="8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5pPr>
            <a:lvl6pPr marL="0" indent="0" algn="r">
              <a:lnSpc>
                <a:spcPct val="8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6pPr>
            <a:lvl7pPr marL="0" indent="0" algn="r">
              <a:lnSpc>
                <a:spcPct val="8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7pPr>
            <a:lvl8pPr marL="0" indent="0" algn="r">
              <a:lnSpc>
                <a:spcPct val="8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8pPr>
            <a:lvl9pPr marL="0" indent="0" algn="r">
              <a:lnSpc>
                <a:spcPct val="8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/>
              <a:t>“Here </a:t>
            </a:r>
            <a:r>
              <a:rPr lang="de-DE" err="1"/>
              <a:t>is</a:t>
            </a:r>
            <a:r>
              <a:rPr lang="de-DE"/>
              <a:t> a </a:t>
            </a:r>
            <a:r>
              <a:rPr lang="de-DE" err="1"/>
              <a:t>meaningful</a:t>
            </a:r>
            <a:r>
              <a:rPr lang="de-DE"/>
              <a:t> </a:t>
            </a:r>
            <a:r>
              <a:rPr lang="de-DE" err="1"/>
              <a:t>quote</a:t>
            </a:r>
            <a:r>
              <a:rPr lang="de-DE"/>
              <a:t>, multiple </a:t>
            </a:r>
            <a:r>
              <a:rPr lang="de-DE" err="1"/>
              <a:t>lines</a:t>
            </a:r>
            <a:r>
              <a:rPr lang="de-DE"/>
              <a:t> possible.“</a:t>
            </a:r>
          </a:p>
          <a:p>
            <a:pPr lvl="1"/>
            <a:r>
              <a:rPr lang="de-DE"/>
              <a:t>– </a:t>
            </a:r>
            <a:r>
              <a:rPr lang="de-DE" err="1"/>
              <a:t>Author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98725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780">
          <p15:clr>
            <a:srgbClr val="FBAE40"/>
          </p15:clr>
        </p15:guide>
        <p15:guide id="3" orient="horz" pos="1324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Zitatfolie 0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8F2A4CF4-F40B-4E8A-9194-82C4992C32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422800" y="2133128"/>
            <a:ext cx="7344000" cy="2448000"/>
          </a:xfrm>
        </p:spPr>
        <p:txBody>
          <a:bodyPr anchor="ctr">
            <a:noAutofit/>
          </a:bodyPr>
          <a:lstStyle>
            <a:lvl1pPr marL="0" indent="0">
              <a:lnSpc>
                <a:spcPct val="80000"/>
              </a:lnSpc>
              <a:buFont typeface="+mn-lt" panose="020B0604020202020204" pitchFamily="34" charset="0"/>
              <a:buNone/>
              <a:defRPr sz="4000">
                <a:solidFill>
                  <a:schemeClr val="bg1"/>
                </a:solidFill>
                <a:latin typeface="+mj-lt"/>
              </a:defRPr>
            </a:lvl1pPr>
            <a:lvl2pPr marL="0" indent="0" algn="r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Font typeface="+mn-lt" panose="020B0604020202020204" pitchFamily="34" charset="0"/>
              <a:buNone/>
              <a:defRPr sz="1800">
                <a:solidFill>
                  <a:schemeClr val="bg1"/>
                </a:solidFill>
                <a:latin typeface="+mn-lt"/>
              </a:defRPr>
            </a:lvl2pPr>
            <a:lvl3pPr marL="0" indent="0" algn="r">
              <a:lnSpc>
                <a:spcPct val="8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3pPr>
            <a:lvl4pPr marL="0" indent="0" algn="r">
              <a:lnSpc>
                <a:spcPct val="8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4pPr>
            <a:lvl5pPr marL="0" indent="0" algn="r">
              <a:lnSpc>
                <a:spcPct val="8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5pPr>
            <a:lvl6pPr marL="0" indent="0" algn="r">
              <a:lnSpc>
                <a:spcPct val="8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6pPr>
            <a:lvl7pPr marL="0" indent="0" algn="r">
              <a:lnSpc>
                <a:spcPct val="8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7pPr>
            <a:lvl8pPr marL="0" indent="0" algn="r">
              <a:lnSpc>
                <a:spcPct val="8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8pPr>
            <a:lvl9pPr marL="0" indent="0" algn="r">
              <a:lnSpc>
                <a:spcPct val="8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/>
              <a:t>“Here </a:t>
            </a:r>
            <a:r>
              <a:rPr lang="de-DE" err="1"/>
              <a:t>is</a:t>
            </a:r>
            <a:r>
              <a:rPr lang="de-DE"/>
              <a:t> a </a:t>
            </a:r>
            <a:r>
              <a:rPr lang="de-DE" err="1"/>
              <a:t>meaningful</a:t>
            </a:r>
            <a:r>
              <a:rPr lang="de-DE"/>
              <a:t> </a:t>
            </a:r>
            <a:r>
              <a:rPr lang="de-DE" err="1"/>
              <a:t>quote</a:t>
            </a:r>
            <a:r>
              <a:rPr lang="de-DE"/>
              <a:t>, multiple </a:t>
            </a:r>
            <a:r>
              <a:rPr lang="de-DE" err="1"/>
              <a:t>lines</a:t>
            </a:r>
            <a:r>
              <a:rPr lang="de-DE"/>
              <a:t> possible.“</a:t>
            </a:r>
          </a:p>
          <a:p>
            <a:pPr lvl="1"/>
            <a:r>
              <a:rPr lang="de-DE"/>
              <a:t>– </a:t>
            </a:r>
            <a:r>
              <a:rPr lang="de-DE" err="1"/>
              <a:t>Author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639315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758364E8-4ECD-4C26-A5E5-021E95A628B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ltGray">
          <a:xfrm>
            <a:off x="0" y="0"/>
            <a:ext cx="12192000" cy="6858000"/>
          </a:xfrm>
        </p:spPr>
        <p:txBody>
          <a:bodyPr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de-DE"/>
              <a:t>Bild einfügen</a:t>
            </a:r>
          </a:p>
        </p:txBody>
      </p:sp>
    </p:spTree>
    <p:extLst>
      <p:ext uri="{BB962C8B-B14F-4D97-AF65-F5344CB8AC3E}">
        <p14:creationId xmlns:p14="http://schemas.microsoft.com/office/powerpoint/2010/main" val="10663330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nhalt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73FB304-618D-40B7-940D-69DE27A219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>
            <a:noAutofit/>
          </a:bodyPr>
          <a:lstStyle>
            <a:lvl1pPr>
              <a:defRPr/>
            </a:lvl1pPr>
          </a:lstStyle>
          <a:p>
            <a:r>
              <a:rPr lang="de-DE"/>
              <a:t>Headline </a:t>
            </a:r>
            <a:r>
              <a:rPr lang="de-DE" err="1"/>
              <a:t>single</a:t>
            </a:r>
            <a:r>
              <a:rPr lang="de-DE"/>
              <a:t> </a:t>
            </a:r>
            <a:r>
              <a:rPr lang="de-DE" err="1"/>
              <a:t>line</a:t>
            </a:r>
            <a:r>
              <a:rPr lang="de-DE"/>
              <a:t> 40pt. (</a:t>
            </a:r>
            <a:r>
              <a:rPr lang="de-DE" err="1"/>
              <a:t>two</a:t>
            </a:r>
            <a:r>
              <a:rPr lang="de-DE"/>
              <a:t> </a:t>
            </a:r>
            <a:r>
              <a:rPr lang="de-DE" err="1"/>
              <a:t>lines</a:t>
            </a:r>
            <a:r>
              <a:rPr lang="de-DE"/>
              <a:t> 24pt.)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18C1C1B3-2B43-47F5-9FA0-80C6D4477A0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6078476" y="1484313"/>
            <a:ext cx="6114740" cy="4752000"/>
          </a:xfrm>
        </p:spPr>
        <p:txBody>
          <a:bodyPr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tabLst>
                <a:tab pos="2687638" algn="l"/>
              </a:tabLst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4"/>
            <a:r>
              <a:rPr lang="de-DE"/>
              <a:t>Bild einfüg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7B4C7612-0C84-4376-B998-B34EAE1F544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 bwMode="black">
          <a:xfrm>
            <a:off x="479425" y="1484313"/>
            <a:ext cx="5472575" cy="4752000"/>
          </a:xfrm>
        </p:spPr>
        <p:txBody>
          <a:bodyPr>
            <a:noAutofit/>
          </a:bodyPr>
          <a:lstStyle/>
          <a:p>
            <a:pPr lvl="0"/>
            <a:r>
              <a:rPr lang="de-DE"/>
              <a:t>Edi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  <a:p>
            <a:pPr lvl="1"/>
            <a:r>
              <a:rPr lang="de-DE"/>
              <a:t>Level 2</a:t>
            </a:r>
          </a:p>
          <a:p>
            <a:pPr lvl="2"/>
            <a:r>
              <a:rPr lang="de-DE"/>
              <a:t>Level 3</a:t>
            </a:r>
          </a:p>
          <a:p>
            <a:pPr lvl="3"/>
            <a:r>
              <a:rPr lang="de-DE"/>
              <a:t>Level 4</a:t>
            </a:r>
          </a:p>
          <a:p>
            <a:pPr lvl="4"/>
            <a:r>
              <a:rPr lang="de-DE"/>
              <a:t>Level 5</a:t>
            </a:r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4C23A359-A166-6041-A7B7-DCE018AE10A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478800" y="6453000"/>
            <a:ext cx="9326146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 kern="900" baseline="0">
                <a:solidFill>
                  <a:schemeClr val="tx1"/>
                </a:solidFill>
              </a:defRPr>
            </a:lvl1pPr>
          </a:lstStyle>
          <a:p>
            <a:r>
              <a:rPr lang="de-DE"/>
              <a:t>T-Systems India - Digital Solutions </a:t>
            </a:r>
          </a:p>
        </p:txBody>
      </p:sp>
      <p:sp>
        <p:nvSpPr>
          <p:cNvPr id="11" name="Foliennummernplatzhalter 5">
            <a:extLst>
              <a:ext uri="{FF2B5EF4-FFF2-40B4-BE49-F238E27FC236}">
                <a16:creationId xmlns:a16="http://schemas.microsoft.com/office/drawing/2014/main" id="{0BEBCFC1-43A7-4346-96A2-796F9DE01EA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11442000" y="6453000"/>
            <a:ext cx="252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A1A5E10D-79A5-49BA-9648-53481340C65F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4673638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6EFC226-BB11-4405-967C-3564772CC2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 anchor="t">
            <a:noAutofit/>
          </a:bodyPr>
          <a:lstStyle>
            <a:lvl1pPr>
              <a:defRPr/>
            </a:lvl1pPr>
          </a:lstStyle>
          <a:p>
            <a:r>
              <a:rPr lang="de-DE"/>
              <a:t>Headline </a:t>
            </a:r>
            <a:r>
              <a:rPr lang="de-DE" err="1"/>
              <a:t>single</a:t>
            </a:r>
            <a:r>
              <a:rPr lang="de-DE"/>
              <a:t> </a:t>
            </a:r>
            <a:r>
              <a:rPr lang="de-DE" err="1"/>
              <a:t>line</a:t>
            </a:r>
            <a:r>
              <a:rPr lang="de-DE"/>
              <a:t> 40pt. (</a:t>
            </a:r>
            <a:r>
              <a:rPr lang="de-DE" err="1"/>
              <a:t>two</a:t>
            </a:r>
            <a:r>
              <a:rPr lang="de-DE"/>
              <a:t> </a:t>
            </a:r>
            <a:r>
              <a:rPr lang="de-DE" err="1"/>
              <a:t>lines</a:t>
            </a:r>
            <a:r>
              <a:rPr lang="de-DE"/>
              <a:t> 24pt.)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46B59290-87BC-4AFB-854D-B3809A4D23C4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gray"/>
        <p:txBody>
          <a:bodyPr>
            <a:noAutofit/>
          </a:bodyPr>
          <a:lstStyle/>
          <a:p>
            <a:pPr lvl="0"/>
            <a:r>
              <a:rPr lang="de-DE"/>
              <a:t>Edi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  <a:p>
            <a:pPr lvl="1"/>
            <a:r>
              <a:rPr lang="de-DE"/>
              <a:t>Level 2</a:t>
            </a:r>
          </a:p>
          <a:p>
            <a:pPr lvl="2"/>
            <a:r>
              <a:rPr lang="de-DE"/>
              <a:t>Level 3</a:t>
            </a:r>
          </a:p>
          <a:p>
            <a:pPr lvl="3"/>
            <a:r>
              <a:rPr lang="de-DE"/>
              <a:t>Level 4</a:t>
            </a:r>
          </a:p>
          <a:p>
            <a:pPr lvl="4"/>
            <a:r>
              <a:rPr lang="de-DE"/>
              <a:t>Level 5</a:t>
            </a:r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D0BFB8A3-13A1-E441-8AAB-F55AD870CBA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478800" y="6453000"/>
            <a:ext cx="9326146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 kern="900" baseline="0">
                <a:solidFill>
                  <a:schemeClr val="tx1"/>
                </a:solidFill>
              </a:defRPr>
            </a:lvl1pPr>
          </a:lstStyle>
          <a:p>
            <a:r>
              <a:rPr lang="de-DE"/>
              <a:t>T-Systems India - Digital Solutions </a:t>
            </a:r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4767C752-AA24-774D-9597-350B152A86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11442000" y="6453000"/>
            <a:ext cx="252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A1A5E10D-79A5-49BA-9648-53481340C65F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5449845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33E96A5-93EA-451A-88A2-0C4325907D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78800" y="405000"/>
            <a:ext cx="11209946" cy="720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de-DE"/>
              <a:t>Headline </a:t>
            </a:r>
            <a:r>
              <a:rPr lang="de-DE" err="1"/>
              <a:t>single</a:t>
            </a:r>
            <a:r>
              <a:rPr lang="de-DE"/>
              <a:t> </a:t>
            </a:r>
            <a:r>
              <a:rPr lang="de-DE" err="1"/>
              <a:t>line</a:t>
            </a:r>
            <a:r>
              <a:rPr lang="de-DE"/>
              <a:t> 40pt. (</a:t>
            </a:r>
            <a:r>
              <a:rPr lang="de-DE" err="1"/>
              <a:t>two</a:t>
            </a:r>
            <a:r>
              <a:rPr lang="de-DE"/>
              <a:t> </a:t>
            </a:r>
            <a:r>
              <a:rPr lang="de-DE" err="1"/>
              <a:t>lines</a:t>
            </a:r>
            <a:r>
              <a:rPr lang="de-DE"/>
              <a:t> 24pt.)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E5D6AE95-30E2-4E14-9028-628793137D1D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gray">
          <a:xfrm>
            <a:off x="478800" y="1484313"/>
            <a:ext cx="5453984" cy="4752000"/>
          </a:xfrm>
        </p:spPr>
        <p:txBody>
          <a:bodyPr>
            <a:noAutofit/>
          </a:bodyPr>
          <a:lstStyle/>
          <a:p>
            <a:pPr lvl="0"/>
            <a:r>
              <a:rPr lang="de-DE"/>
              <a:t>Edi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  <a:p>
            <a:pPr lvl="1"/>
            <a:r>
              <a:rPr lang="de-DE"/>
              <a:t>Level 2</a:t>
            </a:r>
          </a:p>
          <a:p>
            <a:pPr lvl="2"/>
            <a:r>
              <a:rPr lang="de-DE"/>
              <a:t>Level 3</a:t>
            </a:r>
          </a:p>
          <a:p>
            <a:pPr lvl="3"/>
            <a:r>
              <a:rPr lang="de-DE"/>
              <a:t>Level 4</a:t>
            </a:r>
          </a:p>
          <a:p>
            <a:pPr lvl="4"/>
            <a:r>
              <a:rPr lang="de-DE"/>
              <a:t>Level 5</a:t>
            </a: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20BABE80-E0D1-46E7-8B60-730D1088E23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 bwMode="gray">
          <a:xfrm>
            <a:off x="6114000" y="1483726"/>
            <a:ext cx="5453984" cy="4752000"/>
          </a:xfrm>
        </p:spPr>
        <p:txBody>
          <a:bodyPr>
            <a:noAutofit/>
          </a:bodyPr>
          <a:lstStyle/>
          <a:p>
            <a:pPr lvl="0"/>
            <a:r>
              <a:rPr lang="de-DE"/>
              <a:t>Edi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  <a:p>
            <a:pPr lvl="1"/>
            <a:r>
              <a:rPr lang="de-DE"/>
              <a:t>Level 2</a:t>
            </a:r>
          </a:p>
          <a:p>
            <a:pPr lvl="2"/>
            <a:r>
              <a:rPr lang="de-DE"/>
              <a:t>Level 3</a:t>
            </a:r>
          </a:p>
          <a:p>
            <a:pPr lvl="3"/>
            <a:r>
              <a:rPr lang="de-DE"/>
              <a:t>Level 4</a:t>
            </a:r>
          </a:p>
          <a:p>
            <a:pPr lvl="4"/>
            <a:r>
              <a:rPr lang="de-DE"/>
              <a:t>Level 5</a:t>
            </a:r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66DC2B83-C464-8548-B853-B8751DEE120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478800" y="6453000"/>
            <a:ext cx="9326146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 kern="900" baseline="0">
                <a:solidFill>
                  <a:schemeClr val="tx1"/>
                </a:solidFill>
              </a:defRPr>
            </a:lvl1pPr>
          </a:lstStyle>
          <a:p>
            <a:r>
              <a:rPr lang="de-DE"/>
              <a:t>T-Systems India - Digital Solutions </a:t>
            </a:r>
          </a:p>
        </p:txBody>
      </p:sp>
      <p:sp>
        <p:nvSpPr>
          <p:cNvPr id="11" name="Foliennummernplatzhalter 5">
            <a:extLst>
              <a:ext uri="{FF2B5EF4-FFF2-40B4-BE49-F238E27FC236}">
                <a16:creationId xmlns:a16="http://schemas.microsoft.com/office/drawing/2014/main" id="{8005A55A-5D2C-5448-A507-2B52A5217A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11442000" y="6453000"/>
            <a:ext cx="252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A1A5E10D-79A5-49BA-9648-53481340C65F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771210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4CF5EE6-FFD8-44FD-9C80-95B68F34D2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78800" y="405000"/>
            <a:ext cx="11209946" cy="720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de-DE"/>
              <a:t>Headline </a:t>
            </a:r>
            <a:r>
              <a:rPr lang="de-DE" err="1"/>
              <a:t>single</a:t>
            </a:r>
            <a:r>
              <a:rPr lang="de-DE"/>
              <a:t> </a:t>
            </a:r>
            <a:r>
              <a:rPr lang="de-DE" err="1"/>
              <a:t>line</a:t>
            </a:r>
            <a:r>
              <a:rPr lang="de-DE"/>
              <a:t> 40pt. (</a:t>
            </a:r>
            <a:r>
              <a:rPr lang="de-DE" err="1"/>
              <a:t>two</a:t>
            </a:r>
            <a:r>
              <a:rPr lang="de-DE"/>
              <a:t> </a:t>
            </a:r>
            <a:r>
              <a:rPr lang="de-DE" err="1"/>
              <a:t>lines</a:t>
            </a:r>
            <a:r>
              <a:rPr lang="de-DE"/>
              <a:t> 24pt.)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2422070A-7303-4B7F-93D4-191685839B59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black">
          <a:xfrm>
            <a:off x="478800" y="1484313"/>
            <a:ext cx="3600575" cy="4752000"/>
          </a:xfrm>
        </p:spPr>
        <p:txBody>
          <a:bodyPr>
            <a:noAutofit/>
          </a:bodyPr>
          <a:lstStyle/>
          <a:p>
            <a:pPr lvl="0"/>
            <a:r>
              <a:rPr lang="de-DE"/>
              <a:t>Edi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  <a:p>
            <a:pPr lvl="1"/>
            <a:r>
              <a:rPr lang="de-DE"/>
              <a:t>Level 2</a:t>
            </a:r>
          </a:p>
          <a:p>
            <a:pPr lvl="2"/>
            <a:r>
              <a:rPr lang="de-DE"/>
              <a:t>Level 3</a:t>
            </a:r>
          </a:p>
          <a:p>
            <a:pPr lvl="3"/>
            <a:r>
              <a:rPr lang="de-DE"/>
              <a:t>Level 4</a:t>
            </a:r>
          </a:p>
          <a:p>
            <a:pPr lvl="4"/>
            <a:r>
              <a:rPr lang="de-DE"/>
              <a:t>Level 5</a:t>
            </a:r>
          </a:p>
        </p:txBody>
      </p:sp>
      <p:sp>
        <p:nvSpPr>
          <p:cNvPr id="11" name="Inhaltsplatzhalter 10">
            <a:extLst>
              <a:ext uri="{FF2B5EF4-FFF2-40B4-BE49-F238E27FC236}">
                <a16:creationId xmlns:a16="http://schemas.microsoft.com/office/drawing/2014/main" id="{7D9598B6-CEA7-42C6-8376-9C8FFAD9B4C1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 bwMode="black">
          <a:xfrm>
            <a:off x="4223425" y="1484313"/>
            <a:ext cx="3600575" cy="4752000"/>
          </a:xfrm>
        </p:spPr>
        <p:txBody>
          <a:bodyPr>
            <a:noAutofit/>
          </a:bodyPr>
          <a:lstStyle/>
          <a:p>
            <a:pPr lvl="0"/>
            <a:r>
              <a:rPr lang="de-DE"/>
              <a:t>Edi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  <a:p>
            <a:pPr lvl="1"/>
            <a:r>
              <a:rPr lang="de-DE"/>
              <a:t>Level 2</a:t>
            </a:r>
          </a:p>
          <a:p>
            <a:pPr lvl="2"/>
            <a:r>
              <a:rPr lang="de-DE"/>
              <a:t>Level 3</a:t>
            </a:r>
          </a:p>
          <a:p>
            <a:pPr lvl="3"/>
            <a:r>
              <a:rPr lang="de-DE"/>
              <a:t>Level 4</a:t>
            </a:r>
          </a:p>
          <a:p>
            <a:pPr lvl="4"/>
            <a:r>
              <a:rPr lang="de-DE"/>
              <a:t>Level 5</a:t>
            </a:r>
          </a:p>
        </p:txBody>
      </p:sp>
      <p:sp>
        <p:nvSpPr>
          <p:cNvPr id="13" name="Inhaltsplatzhalter 12">
            <a:extLst>
              <a:ext uri="{FF2B5EF4-FFF2-40B4-BE49-F238E27FC236}">
                <a16:creationId xmlns:a16="http://schemas.microsoft.com/office/drawing/2014/main" id="{508F3AD6-ECB1-46C4-8C4D-7E86183245A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 bwMode="black">
          <a:xfrm>
            <a:off x="7967425" y="1484313"/>
            <a:ext cx="3600575" cy="4752000"/>
          </a:xfrm>
        </p:spPr>
        <p:txBody>
          <a:bodyPr>
            <a:noAutofit/>
          </a:bodyPr>
          <a:lstStyle/>
          <a:p>
            <a:pPr lvl="0"/>
            <a:r>
              <a:rPr lang="de-DE"/>
              <a:t>Edi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  <a:p>
            <a:pPr lvl="1"/>
            <a:r>
              <a:rPr lang="de-DE"/>
              <a:t>Level 2</a:t>
            </a:r>
          </a:p>
          <a:p>
            <a:pPr lvl="2"/>
            <a:r>
              <a:rPr lang="de-DE"/>
              <a:t>Level 3</a:t>
            </a:r>
          </a:p>
          <a:p>
            <a:pPr lvl="3"/>
            <a:r>
              <a:rPr lang="de-DE"/>
              <a:t>Level 4</a:t>
            </a:r>
          </a:p>
          <a:p>
            <a:pPr lvl="4"/>
            <a:r>
              <a:rPr lang="de-DE"/>
              <a:t>Level 5</a:t>
            </a:r>
          </a:p>
        </p:txBody>
      </p:sp>
      <p:sp>
        <p:nvSpPr>
          <p:cNvPr id="9" name="Fußzeilenplatzhalter 4">
            <a:extLst>
              <a:ext uri="{FF2B5EF4-FFF2-40B4-BE49-F238E27FC236}">
                <a16:creationId xmlns:a16="http://schemas.microsoft.com/office/drawing/2014/main" id="{54FFA8FD-DF30-DB4C-95C3-B236789F47E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478800" y="6453000"/>
            <a:ext cx="9326146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 kern="900" baseline="0">
                <a:solidFill>
                  <a:schemeClr val="tx1"/>
                </a:solidFill>
              </a:defRPr>
            </a:lvl1pPr>
          </a:lstStyle>
          <a:p>
            <a:r>
              <a:rPr lang="de-DE"/>
              <a:t>T-Systems India - Digital Solutions </a:t>
            </a:r>
          </a:p>
        </p:txBody>
      </p:sp>
      <p:sp>
        <p:nvSpPr>
          <p:cNvPr id="10" name="Foliennummernplatzhalter 5">
            <a:extLst>
              <a:ext uri="{FF2B5EF4-FFF2-40B4-BE49-F238E27FC236}">
                <a16:creationId xmlns:a16="http://schemas.microsoft.com/office/drawing/2014/main" id="{969C899A-3A81-3D49-BD5A-0DAC790844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11442000" y="6453000"/>
            <a:ext cx="252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A1A5E10D-79A5-49BA-9648-53481340C65F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91799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el 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Bildplatzhalter 23">
            <a:extLst>
              <a:ext uri="{FF2B5EF4-FFF2-40B4-BE49-F238E27FC236}">
                <a16:creationId xmlns:a16="http://schemas.microsoft.com/office/drawing/2014/main" id="{F1A5A0C3-6E00-10BC-3E28-CD6340D0C74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black">
          <a:xfrm>
            <a:off x="1518" y="-1675"/>
            <a:ext cx="12189600" cy="6858000"/>
          </a:xfrm>
          <a:custGeom>
            <a:avLst/>
            <a:gdLst>
              <a:gd name="connsiteX0" fmla="*/ 7733853 w 12186000"/>
              <a:gd name="connsiteY0" fmla="*/ 0 h 6858000"/>
              <a:gd name="connsiteX1" fmla="*/ 12186000 w 12186000"/>
              <a:gd name="connsiteY1" fmla="*/ 0 h 6858000"/>
              <a:gd name="connsiteX2" fmla="*/ 12186000 w 12186000"/>
              <a:gd name="connsiteY2" fmla="*/ 6858000 h 6858000"/>
              <a:gd name="connsiteX3" fmla="*/ 0 w 12186000"/>
              <a:gd name="connsiteY3" fmla="*/ 6858000 h 6858000"/>
              <a:gd name="connsiteX4" fmla="*/ 0 w 12186000"/>
              <a:gd name="connsiteY4" fmla="*/ 4904066 h 6858000"/>
              <a:gd name="connsiteX5" fmla="*/ 1584 w 12186000"/>
              <a:gd name="connsiteY5" fmla="*/ 4891638 h 6858000"/>
              <a:gd name="connsiteX6" fmla="*/ 405886 w 12186000"/>
              <a:gd name="connsiteY6" fmla="*/ 5534937 h 6858000"/>
              <a:gd name="connsiteX7" fmla="*/ 1060197 w 12186000"/>
              <a:gd name="connsiteY7" fmla="*/ 4490729 h 6858000"/>
              <a:gd name="connsiteX8" fmla="*/ 4031527 w 12186000"/>
              <a:gd name="connsiteY8" fmla="*/ 4490729 h 6858000"/>
              <a:gd name="connsiteX9" fmla="*/ 5218936 w 12186000"/>
              <a:gd name="connsiteY9" fmla="*/ 2600672 h 6858000"/>
              <a:gd name="connsiteX10" fmla="*/ 6100006 w 12186000"/>
              <a:gd name="connsiteY10" fmla="*/ 260067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86000" h="6858000">
                <a:moveTo>
                  <a:pt x="7733853" y="0"/>
                </a:moveTo>
                <a:lnTo>
                  <a:pt x="12186000" y="0"/>
                </a:lnTo>
                <a:lnTo>
                  <a:pt x="12186000" y="6858000"/>
                </a:lnTo>
                <a:lnTo>
                  <a:pt x="0" y="6858000"/>
                </a:lnTo>
                <a:lnTo>
                  <a:pt x="0" y="4904066"/>
                </a:lnTo>
                <a:lnTo>
                  <a:pt x="1584" y="4891638"/>
                </a:lnTo>
                <a:lnTo>
                  <a:pt x="405886" y="5534937"/>
                </a:lnTo>
                <a:lnTo>
                  <a:pt x="1060197" y="4490729"/>
                </a:lnTo>
                <a:lnTo>
                  <a:pt x="4031527" y="4490729"/>
                </a:lnTo>
                <a:lnTo>
                  <a:pt x="5218936" y="2600672"/>
                </a:lnTo>
                <a:lnTo>
                  <a:pt x="6100006" y="2600672"/>
                </a:lnTo>
                <a:close/>
              </a:path>
            </a:pathLst>
          </a:custGeom>
          <a:noFill/>
        </p:spPr>
        <p:txBody>
          <a:bodyPr wrap="square">
            <a:noAutofit/>
          </a:bodyPr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7" name="Bildplatzhalter 8">
            <a:extLst>
              <a:ext uri="{FF2B5EF4-FFF2-40B4-BE49-F238E27FC236}">
                <a16:creationId xmlns:a16="http://schemas.microsoft.com/office/drawing/2014/main" id="{84CDAD80-E892-D74A-B78D-B5AA7D4B921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85999" y="5833800"/>
            <a:ext cx="3585600" cy="468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E06200C7-3B76-A44D-E941-30128673D3C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8328248" cy="5545224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7855CF3A-8745-495B-9FFE-CE92A5F4D68B}"/>
              </a:ext>
            </a:extLst>
          </p:cNvPr>
          <p:cNvSpPr>
            <a:spLocks noGrp="1"/>
          </p:cNvSpPr>
          <p:nvPr>
            <p:ph type="ctrTitle"/>
          </p:nvPr>
        </p:nvSpPr>
        <p:spPr bwMode="black">
          <a:xfrm>
            <a:off x="478800" y="476672"/>
            <a:ext cx="5617200" cy="1944000"/>
          </a:xfrm>
        </p:spPr>
        <p:txBody>
          <a:bodyPr lIns="0" anchor="t" anchorCtr="0"/>
          <a:lstStyle>
            <a:lvl1pPr algn="l"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931B0A1-8DE4-4F87-9296-AE72B35697A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78800" y="2600672"/>
            <a:ext cx="4249048" cy="504000"/>
          </a:xfrm>
        </p:spPr>
        <p:txBody>
          <a:bodyPr lIns="0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9pPr>
          </a:lstStyle>
          <a:p>
            <a:r>
              <a:rPr lang="de-DE"/>
              <a:t>Untertitel | Autor*in | Ort | Datum</a:t>
            </a:r>
          </a:p>
        </p:txBody>
      </p:sp>
    </p:spTree>
    <p:extLst>
      <p:ext uri="{BB962C8B-B14F-4D97-AF65-F5344CB8AC3E}">
        <p14:creationId xmlns:p14="http://schemas.microsoft.com/office/powerpoint/2010/main" val="2911903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4BE4F56-CAAF-476E-A2B9-F1A0D25C8BAC}"/>
              </a:ext>
            </a:extLst>
          </p:cNvPr>
          <p:cNvSpPr>
            <a:spLocks noGrp="1"/>
          </p:cNvSpPr>
          <p:nvPr>
            <p:ph type="title" sz="quarter" hasCustomPrompt="1"/>
          </p:nvPr>
        </p:nvSpPr>
        <p:spPr bwMode="black">
          <a:xfrm>
            <a:off x="478800" y="405000"/>
            <a:ext cx="11209946" cy="720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de-DE"/>
              <a:t>Headline </a:t>
            </a:r>
            <a:r>
              <a:rPr lang="de-DE" err="1"/>
              <a:t>single</a:t>
            </a:r>
            <a:r>
              <a:rPr lang="de-DE"/>
              <a:t> </a:t>
            </a:r>
            <a:r>
              <a:rPr lang="de-DE" err="1"/>
              <a:t>line</a:t>
            </a:r>
            <a:r>
              <a:rPr lang="de-DE"/>
              <a:t> 40pt. (</a:t>
            </a:r>
            <a:r>
              <a:rPr lang="de-DE" err="1"/>
              <a:t>two</a:t>
            </a:r>
            <a:r>
              <a:rPr lang="de-DE"/>
              <a:t> </a:t>
            </a:r>
            <a:r>
              <a:rPr lang="de-DE" err="1"/>
              <a:t>lines</a:t>
            </a:r>
            <a:r>
              <a:rPr lang="de-DE"/>
              <a:t> 24pt.)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4B6057D-AA55-47BF-A331-2E2648C311B9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black">
          <a:xfrm>
            <a:off x="478800" y="1484313"/>
            <a:ext cx="2664575" cy="4752000"/>
          </a:xfrm>
        </p:spPr>
        <p:txBody>
          <a:bodyPr>
            <a:noAutofit/>
          </a:bodyPr>
          <a:lstStyle/>
          <a:p>
            <a:pPr lvl="0"/>
            <a:r>
              <a:rPr lang="de-DE"/>
              <a:t>Edi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  <a:p>
            <a:pPr lvl="1"/>
            <a:r>
              <a:rPr lang="de-DE"/>
              <a:t>Level 2</a:t>
            </a:r>
          </a:p>
          <a:p>
            <a:pPr lvl="2"/>
            <a:r>
              <a:rPr lang="de-DE"/>
              <a:t>Level 3</a:t>
            </a:r>
          </a:p>
          <a:p>
            <a:pPr lvl="3"/>
            <a:r>
              <a:rPr lang="de-DE"/>
              <a:t>Level 4</a:t>
            </a:r>
          </a:p>
          <a:p>
            <a:pPr lvl="4"/>
            <a:r>
              <a:rPr lang="de-DE"/>
              <a:t>Level 5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7D73B4FC-B74D-4CE7-B959-B58A486BFB4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 bwMode="black">
          <a:xfrm>
            <a:off x="3287425" y="1484313"/>
            <a:ext cx="2664575" cy="4752000"/>
          </a:xfrm>
        </p:spPr>
        <p:txBody>
          <a:bodyPr>
            <a:noAutofit/>
          </a:bodyPr>
          <a:lstStyle/>
          <a:p>
            <a:pPr lvl="0"/>
            <a:r>
              <a:rPr lang="de-DE"/>
              <a:t>Edi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  <a:p>
            <a:pPr lvl="1"/>
            <a:r>
              <a:rPr lang="de-DE"/>
              <a:t>Level 2</a:t>
            </a:r>
          </a:p>
          <a:p>
            <a:pPr lvl="2"/>
            <a:r>
              <a:rPr lang="de-DE"/>
              <a:t>Level 3</a:t>
            </a:r>
          </a:p>
          <a:p>
            <a:pPr lvl="3"/>
            <a:r>
              <a:rPr lang="de-DE"/>
              <a:t>Level 4</a:t>
            </a:r>
          </a:p>
          <a:p>
            <a:pPr lvl="4"/>
            <a:r>
              <a:rPr lang="de-DE"/>
              <a:t>Level 5</a:t>
            </a: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5C02444F-BCE5-47EE-A8CF-C44F258655A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 bwMode="black">
          <a:xfrm>
            <a:off x="6095425" y="1484313"/>
            <a:ext cx="2664575" cy="4752000"/>
          </a:xfrm>
        </p:spPr>
        <p:txBody>
          <a:bodyPr>
            <a:noAutofit/>
          </a:bodyPr>
          <a:lstStyle/>
          <a:p>
            <a:pPr lvl="0"/>
            <a:r>
              <a:rPr lang="de-DE"/>
              <a:t>Edi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  <a:p>
            <a:pPr lvl="1"/>
            <a:r>
              <a:rPr lang="de-DE"/>
              <a:t>Level 2</a:t>
            </a:r>
          </a:p>
          <a:p>
            <a:pPr lvl="2"/>
            <a:r>
              <a:rPr lang="de-DE"/>
              <a:t>Level 3</a:t>
            </a:r>
          </a:p>
          <a:p>
            <a:pPr lvl="3"/>
            <a:r>
              <a:rPr lang="de-DE"/>
              <a:t>Level 4</a:t>
            </a:r>
          </a:p>
          <a:p>
            <a:pPr lvl="4"/>
            <a:r>
              <a:rPr lang="de-DE"/>
              <a:t>Level 5</a:t>
            </a:r>
          </a:p>
        </p:txBody>
      </p:sp>
      <p:sp>
        <p:nvSpPr>
          <p:cNvPr id="14" name="Inhaltsplatzhalter 13">
            <a:extLst>
              <a:ext uri="{FF2B5EF4-FFF2-40B4-BE49-F238E27FC236}">
                <a16:creationId xmlns:a16="http://schemas.microsoft.com/office/drawing/2014/main" id="{747D8B36-797B-4379-B1D3-EFD569BF81EF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 bwMode="black">
          <a:xfrm>
            <a:off x="8903425" y="1484313"/>
            <a:ext cx="2664575" cy="4752000"/>
          </a:xfrm>
        </p:spPr>
        <p:txBody>
          <a:bodyPr>
            <a:noAutofit/>
          </a:bodyPr>
          <a:lstStyle/>
          <a:p>
            <a:pPr lvl="0"/>
            <a:r>
              <a:rPr lang="de-DE"/>
              <a:t>Edi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  <a:p>
            <a:pPr lvl="1"/>
            <a:r>
              <a:rPr lang="de-DE"/>
              <a:t>Level 2</a:t>
            </a:r>
          </a:p>
          <a:p>
            <a:pPr lvl="2"/>
            <a:r>
              <a:rPr lang="de-DE"/>
              <a:t>Level 3</a:t>
            </a:r>
          </a:p>
          <a:p>
            <a:pPr lvl="3"/>
            <a:r>
              <a:rPr lang="de-DE"/>
              <a:t>Level 4</a:t>
            </a:r>
          </a:p>
          <a:p>
            <a:pPr lvl="4"/>
            <a:r>
              <a:rPr lang="de-DE"/>
              <a:t>Level 5</a:t>
            </a:r>
          </a:p>
        </p:txBody>
      </p:sp>
      <p:sp>
        <p:nvSpPr>
          <p:cNvPr id="11" name="Fußzeilenplatzhalter 4">
            <a:extLst>
              <a:ext uri="{FF2B5EF4-FFF2-40B4-BE49-F238E27FC236}">
                <a16:creationId xmlns:a16="http://schemas.microsoft.com/office/drawing/2014/main" id="{4B858102-E82B-0E45-91EA-2D391B118D0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478800" y="6453000"/>
            <a:ext cx="9326146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 kern="900" baseline="0">
                <a:solidFill>
                  <a:schemeClr val="tx1"/>
                </a:solidFill>
              </a:defRPr>
            </a:lvl1pPr>
          </a:lstStyle>
          <a:p>
            <a:r>
              <a:rPr lang="de-DE"/>
              <a:t>T-Systems India - Digital Solutions </a:t>
            </a:r>
          </a:p>
        </p:txBody>
      </p:sp>
      <p:sp>
        <p:nvSpPr>
          <p:cNvPr id="12" name="Foliennummernplatzhalter 5">
            <a:extLst>
              <a:ext uri="{FF2B5EF4-FFF2-40B4-BE49-F238E27FC236}">
                <a16:creationId xmlns:a16="http://schemas.microsoft.com/office/drawing/2014/main" id="{A6165899-3423-8E4D-BD64-B8AD65DA212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11442000" y="6453000"/>
            <a:ext cx="252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A1A5E10D-79A5-49BA-9648-53481340C65F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6181356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ild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6902E79-B5C3-4A51-9C68-88010755DD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>
            <a:noAutofit/>
          </a:bodyPr>
          <a:lstStyle>
            <a:lvl1pPr>
              <a:defRPr/>
            </a:lvl1pPr>
          </a:lstStyle>
          <a:p>
            <a:r>
              <a:rPr lang="de-DE"/>
              <a:t>Headline </a:t>
            </a:r>
            <a:r>
              <a:rPr lang="de-DE" err="1"/>
              <a:t>single</a:t>
            </a:r>
            <a:r>
              <a:rPr lang="de-DE"/>
              <a:t> </a:t>
            </a:r>
            <a:r>
              <a:rPr lang="de-DE" err="1"/>
              <a:t>line</a:t>
            </a:r>
            <a:r>
              <a:rPr lang="de-DE"/>
              <a:t> 40pt. (</a:t>
            </a:r>
            <a:r>
              <a:rPr lang="de-DE" err="1"/>
              <a:t>two</a:t>
            </a:r>
            <a:r>
              <a:rPr lang="de-DE"/>
              <a:t> </a:t>
            </a:r>
            <a:r>
              <a:rPr lang="de-DE" err="1"/>
              <a:t>lines</a:t>
            </a:r>
            <a:r>
              <a:rPr lang="de-DE"/>
              <a:t> 24pt.)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9CD48E90-58F3-40B4-B97C-453785FBBAB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black">
          <a:xfrm>
            <a:off x="8042901" y="1484313"/>
            <a:ext cx="3525099" cy="4752000"/>
          </a:xfrm>
        </p:spPr>
        <p:txBody>
          <a:bodyPr>
            <a:noAutofit/>
          </a:bodyPr>
          <a:lstStyle>
            <a:lvl5pPr>
              <a:defRPr/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  <a:p>
            <a:pPr lvl="1"/>
            <a:r>
              <a:rPr lang="de-DE"/>
              <a:t>Level 2</a:t>
            </a:r>
          </a:p>
          <a:p>
            <a:pPr lvl="2"/>
            <a:r>
              <a:rPr lang="de-DE"/>
              <a:t>Level 3</a:t>
            </a:r>
          </a:p>
          <a:p>
            <a:pPr lvl="3"/>
            <a:r>
              <a:rPr lang="de-DE"/>
              <a:t>Level 4</a:t>
            </a:r>
          </a:p>
          <a:p>
            <a:pPr lvl="4"/>
            <a:r>
              <a:rPr lang="de-DE"/>
              <a:t>Level 5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A40AE5EC-538A-4BF1-ABC1-3EE1CF9C15F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479426" y="1485312"/>
            <a:ext cx="7344528" cy="4752000"/>
          </a:xfrm>
        </p:spPr>
        <p:txBody>
          <a:bodyPr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tx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tx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tx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tx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tx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tx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tx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lvl="4"/>
            <a:r>
              <a:rPr lang="de-DE"/>
              <a:t>Bild einfügen</a:t>
            </a:r>
          </a:p>
        </p:txBody>
      </p:sp>
      <p:sp>
        <p:nvSpPr>
          <p:cNvPr id="9" name="Fußzeilenplatzhalter 4">
            <a:extLst>
              <a:ext uri="{FF2B5EF4-FFF2-40B4-BE49-F238E27FC236}">
                <a16:creationId xmlns:a16="http://schemas.microsoft.com/office/drawing/2014/main" id="{750F0558-63F2-5B47-888B-1CF890D74C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478800" y="6453000"/>
            <a:ext cx="9326146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 kern="900" baseline="0">
                <a:solidFill>
                  <a:schemeClr val="tx1"/>
                </a:solidFill>
              </a:defRPr>
            </a:lvl1pPr>
          </a:lstStyle>
          <a:p>
            <a:r>
              <a:rPr lang="de-DE"/>
              <a:t>T-Systems India - Digital Solutions </a:t>
            </a:r>
          </a:p>
        </p:txBody>
      </p:sp>
      <p:sp>
        <p:nvSpPr>
          <p:cNvPr id="11" name="Foliennummernplatzhalter 5">
            <a:extLst>
              <a:ext uri="{FF2B5EF4-FFF2-40B4-BE49-F238E27FC236}">
                <a16:creationId xmlns:a16="http://schemas.microsoft.com/office/drawing/2014/main" id="{20A08EBA-CCA0-BD45-9DD2-2D2BD71824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11442000" y="6453000"/>
            <a:ext cx="252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A1A5E10D-79A5-49BA-9648-53481340C65F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1830694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6EFC226-BB11-4405-967C-3564772CC2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 anchor="t">
            <a:noAutofit/>
          </a:bodyPr>
          <a:lstStyle>
            <a:lvl1pPr>
              <a:defRPr/>
            </a:lvl1pPr>
          </a:lstStyle>
          <a:p>
            <a:r>
              <a:rPr lang="de-DE"/>
              <a:t>Headline </a:t>
            </a:r>
            <a:r>
              <a:rPr lang="de-DE" err="1"/>
              <a:t>single</a:t>
            </a:r>
            <a:r>
              <a:rPr lang="de-DE"/>
              <a:t> </a:t>
            </a:r>
            <a:r>
              <a:rPr lang="de-DE" err="1"/>
              <a:t>line</a:t>
            </a:r>
            <a:r>
              <a:rPr lang="de-DE"/>
              <a:t> 40pt. (</a:t>
            </a:r>
            <a:r>
              <a:rPr lang="de-DE" err="1"/>
              <a:t>two</a:t>
            </a:r>
            <a:r>
              <a:rPr lang="de-DE"/>
              <a:t> </a:t>
            </a:r>
            <a:r>
              <a:rPr lang="de-DE" err="1"/>
              <a:t>lines</a:t>
            </a:r>
            <a:r>
              <a:rPr lang="de-DE"/>
              <a:t> 24pt.)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B159EBD-37DC-4B44-889A-8EFC900C81D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478800" y="6453000"/>
            <a:ext cx="9326146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 kern="900" baseline="0">
                <a:solidFill>
                  <a:schemeClr val="tx1"/>
                </a:solidFill>
              </a:defRPr>
            </a:lvl1pPr>
          </a:lstStyle>
          <a:p>
            <a:r>
              <a:rPr lang="de-DE"/>
              <a:t>T-Systems India - Digital Solutions </a:t>
            </a:r>
          </a:p>
        </p:txBody>
      </p:sp>
      <p:sp>
        <p:nvSpPr>
          <p:cNvPr id="7" name="Foliennummernplatzhalter 5">
            <a:extLst>
              <a:ext uri="{FF2B5EF4-FFF2-40B4-BE49-F238E27FC236}">
                <a16:creationId xmlns:a16="http://schemas.microsoft.com/office/drawing/2014/main" id="{ED8BDE15-B3DB-7E4A-AA8F-2813E89C445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11442000" y="6453000"/>
            <a:ext cx="252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A1A5E10D-79A5-49BA-9648-53481340C65F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6846709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758364E8-4ECD-4C26-A5E5-021E95A628B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ltGray">
          <a:xfrm>
            <a:off x="0" y="0"/>
            <a:ext cx="12192000" cy="6858000"/>
          </a:xfrm>
        </p:spPr>
        <p:txBody>
          <a:bodyPr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de-DE"/>
              <a:t>Bild einfügen</a:t>
            </a:r>
          </a:p>
        </p:txBody>
      </p:sp>
    </p:spTree>
    <p:extLst>
      <p:ext uri="{BB962C8B-B14F-4D97-AF65-F5344CB8AC3E}">
        <p14:creationId xmlns:p14="http://schemas.microsoft.com/office/powerpoint/2010/main" val="275756209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Zwei Inhalte mit Highligh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4CF5EE6-FFD8-44FD-9C80-95B68F34D2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>
            <a:noAutofit/>
          </a:bodyPr>
          <a:lstStyle>
            <a:lvl1pPr>
              <a:defRPr/>
            </a:lvl1pPr>
          </a:lstStyle>
          <a:p>
            <a:r>
              <a:rPr lang="de-DE"/>
              <a:t>Headline </a:t>
            </a:r>
            <a:r>
              <a:rPr lang="de-DE" err="1"/>
              <a:t>single</a:t>
            </a:r>
            <a:r>
              <a:rPr lang="de-DE"/>
              <a:t> </a:t>
            </a:r>
            <a:r>
              <a:rPr lang="de-DE" err="1"/>
              <a:t>line</a:t>
            </a:r>
            <a:r>
              <a:rPr lang="de-DE"/>
              <a:t> 40pt. (</a:t>
            </a:r>
            <a:r>
              <a:rPr lang="de-DE" err="1"/>
              <a:t>two</a:t>
            </a:r>
            <a:r>
              <a:rPr lang="de-DE"/>
              <a:t> </a:t>
            </a:r>
            <a:r>
              <a:rPr lang="de-DE" err="1"/>
              <a:t>lines</a:t>
            </a:r>
            <a:r>
              <a:rPr lang="de-DE"/>
              <a:t> 24pt.)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8A968421-13D9-452E-9E1F-D6F5FE4699B5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black">
          <a:xfrm>
            <a:off x="624000" y="1484313"/>
            <a:ext cx="3456000" cy="4752000"/>
          </a:xfrm>
        </p:spPr>
        <p:txBody>
          <a:bodyPr>
            <a:noAutofit/>
          </a:bodyPr>
          <a:lstStyle/>
          <a:p>
            <a:pPr lvl="0"/>
            <a:r>
              <a:rPr lang="de-DE"/>
              <a:t>Edi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  <a:p>
            <a:pPr lvl="1"/>
            <a:r>
              <a:rPr lang="de-DE"/>
              <a:t>Level 2</a:t>
            </a:r>
          </a:p>
          <a:p>
            <a:pPr lvl="2"/>
            <a:r>
              <a:rPr lang="de-DE"/>
              <a:t>Level 3</a:t>
            </a:r>
          </a:p>
          <a:p>
            <a:pPr lvl="3"/>
            <a:r>
              <a:rPr lang="de-DE"/>
              <a:t>Level 4</a:t>
            </a:r>
          </a:p>
          <a:p>
            <a:pPr lvl="4"/>
            <a:r>
              <a:rPr lang="de-DE"/>
              <a:t>Level 5</a:t>
            </a: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61FA861B-DD93-4B8B-8DB8-0BCD738A172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 bwMode="black">
          <a:xfrm>
            <a:off x="4368000" y="1484313"/>
            <a:ext cx="3456000" cy="4752000"/>
          </a:xfrm>
        </p:spPr>
        <p:txBody>
          <a:bodyPr>
            <a:noAutofit/>
          </a:bodyPr>
          <a:lstStyle/>
          <a:p>
            <a:pPr lvl="0"/>
            <a:r>
              <a:rPr lang="de-DE"/>
              <a:t>Edi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  <a:p>
            <a:pPr lvl="1"/>
            <a:r>
              <a:rPr lang="de-DE"/>
              <a:t>Level 2</a:t>
            </a:r>
          </a:p>
          <a:p>
            <a:pPr lvl="2"/>
            <a:r>
              <a:rPr lang="de-DE"/>
              <a:t>Level 3</a:t>
            </a:r>
          </a:p>
          <a:p>
            <a:pPr lvl="3"/>
            <a:r>
              <a:rPr lang="de-DE"/>
              <a:t>Level 4</a:t>
            </a:r>
          </a:p>
          <a:p>
            <a:pPr lvl="4"/>
            <a:r>
              <a:rPr lang="de-DE"/>
              <a:t>Level 5</a:t>
            </a:r>
          </a:p>
        </p:txBody>
      </p:sp>
      <p:sp>
        <p:nvSpPr>
          <p:cNvPr id="14" name="Freihandform: Form 13">
            <a:extLst>
              <a:ext uri="{FF2B5EF4-FFF2-40B4-BE49-F238E27FC236}">
                <a16:creationId xmlns:a16="http://schemas.microsoft.com/office/drawing/2014/main" id="{9EED2250-7C4A-4786-AAFC-BA534599C4B9}"/>
              </a:ext>
            </a:extLst>
          </p:cNvPr>
          <p:cNvSpPr/>
          <p:nvPr/>
        </p:nvSpPr>
        <p:spPr bwMode="grayWhite">
          <a:xfrm>
            <a:off x="8112000" y="1485000"/>
            <a:ext cx="3456000" cy="5373000"/>
          </a:xfrm>
          <a:custGeom>
            <a:avLst/>
            <a:gdLst>
              <a:gd name="connsiteX0" fmla="*/ 521984 w 3456000"/>
              <a:gd name="connsiteY0" fmla="*/ 0 h 5373000"/>
              <a:gd name="connsiteX1" fmla="*/ 2933364 w 3456000"/>
              <a:gd name="connsiteY1" fmla="*/ 0 h 5373000"/>
              <a:gd name="connsiteX2" fmla="*/ 3455348 w 3456000"/>
              <a:gd name="connsiteY2" fmla="*/ 522636 h 5373000"/>
              <a:gd name="connsiteX3" fmla="*/ 3455348 w 3456000"/>
              <a:gd name="connsiteY3" fmla="*/ 1800000 h 5373000"/>
              <a:gd name="connsiteX4" fmla="*/ 3456000 w 3456000"/>
              <a:gd name="connsiteY4" fmla="*/ 1800000 h 5373000"/>
              <a:gd name="connsiteX5" fmla="*/ 3456000 w 3456000"/>
              <a:gd name="connsiteY5" fmla="*/ 5373000 h 5373000"/>
              <a:gd name="connsiteX6" fmla="*/ 0 w 3456000"/>
              <a:gd name="connsiteY6" fmla="*/ 5373000 h 5373000"/>
              <a:gd name="connsiteX7" fmla="*/ 0 w 3456000"/>
              <a:gd name="connsiteY7" fmla="*/ 4820371 h 5373000"/>
              <a:gd name="connsiteX8" fmla="*/ 0 w 3456000"/>
              <a:gd name="connsiteY8" fmla="*/ 1800000 h 5373000"/>
              <a:gd name="connsiteX9" fmla="*/ 0 w 3456000"/>
              <a:gd name="connsiteY9" fmla="*/ 522636 h 5373000"/>
              <a:gd name="connsiteX10" fmla="*/ 521984 w 3456000"/>
              <a:gd name="connsiteY10" fmla="*/ 0 h 537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456000" h="5373000">
                <a:moveTo>
                  <a:pt x="521984" y="0"/>
                </a:moveTo>
                <a:lnTo>
                  <a:pt x="2933364" y="0"/>
                </a:lnTo>
                <a:cubicBezTo>
                  <a:pt x="3223790" y="0"/>
                  <a:pt x="3455566" y="235469"/>
                  <a:pt x="3455348" y="522636"/>
                </a:cubicBezTo>
                <a:lnTo>
                  <a:pt x="3455348" y="1800000"/>
                </a:lnTo>
                <a:lnTo>
                  <a:pt x="3456000" y="1800000"/>
                </a:lnTo>
                <a:lnTo>
                  <a:pt x="3456000" y="5373000"/>
                </a:lnTo>
                <a:lnTo>
                  <a:pt x="0" y="5373000"/>
                </a:lnTo>
                <a:lnTo>
                  <a:pt x="0" y="4820371"/>
                </a:lnTo>
                <a:lnTo>
                  <a:pt x="0" y="1800000"/>
                </a:lnTo>
                <a:lnTo>
                  <a:pt x="0" y="522636"/>
                </a:lnTo>
                <a:cubicBezTo>
                  <a:pt x="0" y="231776"/>
                  <a:pt x="235251" y="0"/>
                  <a:pt x="521984" y="0"/>
                </a:cubicBezTo>
                <a:close/>
              </a:path>
            </a:pathLst>
          </a:custGeom>
          <a:solidFill>
            <a:srgbClr val="E20074"/>
          </a:solidFill>
          <a:ln w="2167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endParaRPr lang="de-DE"/>
          </a:p>
        </p:txBody>
      </p:sp>
      <p:sp>
        <p:nvSpPr>
          <p:cNvPr id="9" name="Fußzeilenplatzhalter 4">
            <a:extLst>
              <a:ext uri="{FF2B5EF4-FFF2-40B4-BE49-F238E27FC236}">
                <a16:creationId xmlns:a16="http://schemas.microsoft.com/office/drawing/2014/main" id="{0FBB7A04-3353-4076-9E8F-DE76A27E2B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2352000" y="6385644"/>
            <a:ext cx="7488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/>
              <a:t>T-Systems India - Digital Solutions </a:t>
            </a:r>
            <a:endParaRPr lang="de-DE"/>
          </a:p>
        </p:txBody>
      </p:sp>
      <p:sp>
        <p:nvSpPr>
          <p:cNvPr id="15" name="Foliennummernplatzhalter 5">
            <a:extLst>
              <a:ext uri="{FF2B5EF4-FFF2-40B4-BE49-F238E27FC236}">
                <a16:creationId xmlns:a16="http://schemas.microsoft.com/office/drawing/2014/main" id="{B36B2A9C-2AE1-4DF0-B0E2-1599F37C73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11676000" y="6385644"/>
            <a:ext cx="252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A1A5E10D-79A5-49BA-9648-53481340C65F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4200670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el lang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Bildplatzhalter 21">
            <a:extLst>
              <a:ext uri="{FF2B5EF4-FFF2-40B4-BE49-F238E27FC236}">
                <a16:creationId xmlns:a16="http://schemas.microsoft.com/office/drawing/2014/main" id="{48E673EF-7D81-46BF-B450-0CBD30E9B8B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ltGray">
          <a:xfrm>
            <a:off x="0" y="0"/>
            <a:ext cx="12192000" cy="6858000"/>
          </a:xfrm>
          <a:custGeom>
            <a:avLst/>
            <a:gdLst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1538964 w 12192000"/>
              <a:gd name="connsiteY6" fmla="*/ 4509000 h 6858000"/>
              <a:gd name="connsiteX7" fmla="*/ 1546112 w 12192000"/>
              <a:gd name="connsiteY7" fmla="*/ 4509000 h 6858000"/>
              <a:gd name="connsiteX8" fmla="*/ 1691816 w 12192000"/>
              <a:gd name="connsiteY8" fmla="*/ 4509000 h 6858000"/>
              <a:gd name="connsiteX9" fmla="*/ 1699674 w 12192000"/>
              <a:gd name="connsiteY9" fmla="*/ 4509000 h 6858000"/>
              <a:gd name="connsiteX10" fmla="*/ 1861287 w 12192000"/>
              <a:gd name="connsiteY10" fmla="*/ 4509000 h 6858000"/>
              <a:gd name="connsiteX11" fmla="*/ 1869932 w 12192000"/>
              <a:gd name="connsiteY11" fmla="*/ 4509000 h 6858000"/>
              <a:gd name="connsiteX12" fmla="*/ 2227928 w 12192000"/>
              <a:gd name="connsiteY12" fmla="*/ 4509000 h 6858000"/>
              <a:gd name="connsiteX13" fmla="*/ 2238276 w 12192000"/>
              <a:gd name="connsiteY13" fmla="*/ 4509000 h 6858000"/>
              <a:gd name="connsiteX14" fmla="*/ 2594568 w 12192000"/>
              <a:gd name="connsiteY14" fmla="*/ 4509000 h 6858000"/>
              <a:gd name="connsiteX15" fmla="*/ 2606619 w 12192000"/>
              <a:gd name="connsiteY15" fmla="*/ 4509000 h 6858000"/>
              <a:gd name="connsiteX16" fmla="*/ 2764039 w 12192000"/>
              <a:gd name="connsiteY16" fmla="*/ 4509000 h 6858000"/>
              <a:gd name="connsiteX17" fmla="*/ 2776877 w 12192000"/>
              <a:gd name="connsiteY17" fmla="*/ 4509000 h 6858000"/>
              <a:gd name="connsiteX18" fmla="*/ 2916890 w 12192000"/>
              <a:gd name="connsiteY18" fmla="*/ 4509000 h 6858000"/>
              <a:gd name="connsiteX19" fmla="*/ 2930438 w 12192000"/>
              <a:gd name="connsiteY19" fmla="*/ 4509000 h 6858000"/>
              <a:gd name="connsiteX20" fmla="*/ 6257159 w 12192000"/>
              <a:gd name="connsiteY20" fmla="*/ 4509000 h 6858000"/>
              <a:gd name="connsiteX21" fmla="*/ 6286220 w 12192000"/>
              <a:gd name="connsiteY21" fmla="*/ 4509000 h 6858000"/>
              <a:gd name="connsiteX22" fmla="*/ 6979034 w 12192000"/>
              <a:gd name="connsiteY22" fmla="*/ 3819388 h 6858000"/>
              <a:gd name="connsiteX23" fmla="*/ 6979034 w 12192000"/>
              <a:gd name="connsiteY23" fmla="*/ 3140165 h 6858000"/>
              <a:gd name="connsiteX24" fmla="*/ 7671849 w 12192000"/>
              <a:gd name="connsiteY24" fmla="*/ 2450553 h 6858000"/>
              <a:gd name="connsiteX25" fmla="*/ 8029891 w 12192000"/>
              <a:gd name="connsiteY25" fmla="*/ 2450553 h 6858000"/>
              <a:gd name="connsiteX26" fmla="*/ 8067185 w 12192000"/>
              <a:gd name="connsiteY26" fmla="*/ 2450553 h 6858000"/>
              <a:gd name="connsiteX27" fmla="*/ 8759999 w 12192000"/>
              <a:gd name="connsiteY27" fmla="*/ 1760941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1538964 w 12192000"/>
              <a:gd name="connsiteY6" fmla="*/ 4509000 h 6858000"/>
              <a:gd name="connsiteX7" fmla="*/ 1691816 w 12192000"/>
              <a:gd name="connsiteY7" fmla="*/ 4509000 h 6858000"/>
              <a:gd name="connsiteX8" fmla="*/ 1699674 w 12192000"/>
              <a:gd name="connsiteY8" fmla="*/ 4509000 h 6858000"/>
              <a:gd name="connsiteX9" fmla="*/ 1861287 w 12192000"/>
              <a:gd name="connsiteY9" fmla="*/ 4509000 h 6858000"/>
              <a:gd name="connsiteX10" fmla="*/ 1869932 w 12192000"/>
              <a:gd name="connsiteY10" fmla="*/ 4509000 h 6858000"/>
              <a:gd name="connsiteX11" fmla="*/ 2227928 w 12192000"/>
              <a:gd name="connsiteY11" fmla="*/ 4509000 h 6858000"/>
              <a:gd name="connsiteX12" fmla="*/ 2238276 w 12192000"/>
              <a:gd name="connsiteY12" fmla="*/ 4509000 h 6858000"/>
              <a:gd name="connsiteX13" fmla="*/ 2594568 w 12192000"/>
              <a:gd name="connsiteY13" fmla="*/ 4509000 h 6858000"/>
              <a:gd name="connsiteX14" fmla="*/ 2606619 w 12192000"/>
              <a:gd name="connsiteY14" fmla="*/ 4509000 h 6858000"/>
              <a:gd name="connsiteX15" fmla="*/ 2764039 w 12192000"/>
              <a:gd name="connsiteY15" fmla="*/ 4509000 h 6858000"/>
              <a:gd name="connsiteX16" fmla="*/ 2776877 w 12192000"/>
              <a:gd name="connsiteY16" fmla="*/ 4509000 h 6858000"/>
              <a:gd name="connsiteX17" fmla="*/ 2916890 w 12192000"/>
              <a:gd name="connsiteY17" fmla="*/ 4509000 h 6858000"/>
              <a:gd name="connsiteX18" fmla="*/ 2930438 w 12192000"/>
              <a:gd name="connsiteY18" fmla="*/ 4509000 h 6858000"/>
              <a:gd name="connsiteX19" fmla="*/ 6257159 w 12192000"/>
              <a:gd name="connsiteY19" fmla="*/ 4509000 h 6858000"/>
              <a:gd name="connsiteX20" fmla="*/ 6286220 w 12192000"/>
              <a:gd name="connsiteY20" fmla="*/ 4509000 h 6858000"/>
              <a:gd name="connsiteX21" fmla="*/ 6979034 w 12192000"/>
              <a:gd name="connsiteY21" fmla="*/ 3819388 h 6858000"/>
              <a:gd name="connsiteX22" fmla="*/ 6979034 w 12192000"/>
              <a:gd name="connsiteY22" fmla="*/ 3140165 h 6858000"/>
              <a:gd name="connsiteX23" fmla="*/ 7671849 w 12192000"/>
              <a:gd name="connsiteY23" fmla="*/ 2450553 h 6858000"/>
              <a:gd name="connsiteX24" fmla="*/ 8029891 w 12192000"/>
              <a:gd name="connsiteY24" fmla="*/ 2450553 h 6858000"/>
              <a:gd name="connsiteX25" fmla="*/ 8067185 w 12192000"/>
              <a:gd name="connsiteY25" fmla="*/ 2450553 h 6858000"/>
              <a:gd name="connsiteX26" fmla="*/ 8759999 w 12192000"/>
              <a:gd name="connsiteY26" fmla="*/ 1760941 h 6858000"/>
              <a:gd name="connsiteX27" fmla="*/ 8759999 w 12192000"/>
              <a:gd name="connsiteY27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1538964 w 12192000"/>
              <a:gd name="connsiteY6" fmla="*/ 4509000 h 6858000"/>
              <a:gd name="connsiteX7" fmla="*/ 1691816 w 12192000"/>
              <a:gd name="connsiteY7" fmla="*/ 4509000 h 6858000"/>
              <a:gd name="connsiteX8" fmla="*/ 1861287 w 12192000"/>
              <a:gd name="connsiteY8" fmla="*/ 4509000 h 6858000"/>
              <a:gd name="connsiteX9" fmla="*/ 1869932 w 12192000"/>
              <a:gd name="connsiteY9" fmla="*/ 4509000 h 6858000"/>
              <a:gd name="connsiteX10" fmla="*/ 2227928 w 12192000"/>
              <a:gd name="connsiteY10" fmla="*/ 4509000 h 6858000"/>
              <a:gd name="connsiteX11" fmla="*/ 2238276 w 12192000"/>
              <a:gd name="connsiteY11" fmla="*/ 4509000 h 6858000"/>
              <a:gd name="connsiteX12" fmla="*/ 2594568 w 12192000"/>
              <a:gd name="connsiteY12" fmla="*/ 4509000 h 6858000"/>
              <a:gd name="connsiteX13" fmla="*/ 2606619 w 12192000"/>
              <a:gd name="connsiteY13" fmla="*/ 4509000 h 6858000"/>
              <a:gd name="connsiteX14" fmla="*/ 2764039 w 12192000"/>
              <a:gd name="connsiteY14" fmla="*/ 4509000 h 6858000"/>
              <a:gd name="connsiteX15" fmla="*/ 2776877 w 12192000"/>
              <a:gd name="connsiteY15" fmla="*/ 4509000 h 6858000"/>
              <a:gd name="connsiteX16" fmla="*/ 2916890 w 12192000"/>
              <a:gd name="connsiteY16" fmla="*/ 4509000 h 6858000"/>
              <a:gd name="connsiteX17" fmla="*/ 2930438 w 12192000"/>
              <a:gd name="connsiteY17" fmla="*/ 4509000 h 6858000"/>
              <a:gd name="connsiteX18" fmla="*/ 6257159 w 12192000"/>
              <a:gd name="connsiteY18" fmla="*/ 4509000 h 6858000"/>
              <a:gd name="connsiteX19" fmla="*/ 6286220 w 12192000"/>
              <a:gd name="connsiteY19" fmla="*/ 4509000 h 6858000"/>
              <a:gd name="connsiteX20" fmla="*/ 6979034 w 12192000"/>
              <a:gd name="connsiteY20" fmla="*/ 3819388 h 6858000"/>
              <a:gd name="connsiteX21" fmla="*/ 6979034 w 12192000"/>
              <a:gd name="connsiteY21" fmla="*/ 3140165 h 6858000"/>
              <a:gd name="connsiteX22" fmla="*/ 7671849 w 12192000"/>
              <a:gd name="connsiteY22" fmla="*/ 2450553 h 6858000"/>
              <a:gd name="connsiteX23" fmla="*/ 8029891 w 12192000"/>
              <a:gd name="connsiteY23" fmla="*/ 2450553 h 6858000"/>
              <a:gd name="connsiteX24" fmla="*/ 8067185 w 12192000"/>
              <a:gd name="connsiteY24" fmla="*/ 2450553 h 6858000"/>
              <a:gd name="connsiteX25" fmla="*/ 8759999 w 12192000"/>
              <a:gd name="connsiteY25" fmla="*/ 1760941 h 6858000"/>
              <a:gd name="connsiteX26" fmla="*/ 8759999 w 12192000"/>
              <a:gd name="connsiteY26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1538964 w 12192000"/>
              <a:gd name="connsiteY6" fmla="*/ 4509000 h 6858000"/>
              <a:gd name="connsiteX7" fmla="*/ 1861287 w 12192000"/>
              <a:gd name="connsiteY7" fmla="*/ 4509000 h 6858000"/>
              <a:gd name="connsiteX8" fmla="*/ 1869932 w 12192000"/>
              <a:gd name="connsiteY8" fmla="*/ 4509000 h 6858000"/>
              <a:gd name="connsiteX9" fmla="*/ 2227928 w 12192000"/>
              <a:gd name="connsiteY9" fmla="*/ 4509000 h 6858000"/>
              <a:gd name="connsiteX10" fmla="*/ 2238276 w 12192000"/>
              <a:gd name="connsiteY10" fmla="*/ 4509000 h 6858000"/>
              <a:gd name="connsiteX11" fmla="*/ 2594568 w 12192000"/>
              <a:gd name="connsiteY11" fmla="*/ 4509000 h 6858000"/>
              <a:gd name="connsiteX12" fmla="*/ 2606619 w 12192000"/>
              <a:gd name="connsiteY12" fmla="*/ 4509000 h 6858000"/>
              <a:gd name="connsiteX13" fmla="*/ 2764039 w 12192000"/>
              <a:gd name="connsiteY13" fmla="*/ 4509000 h 6858000"/>
              <a:gd name="connsiteX14" fmla="*/ 2776877 w 12192000"/>
              <a:gd name="connsiteY14" fmla="*/ 4509000 h 6858000"/>
              <a:gd name="connsiteX15" fmla="*/ 2916890 w 12192000"/>
              <a:gd name="connsiteY15" fmla="*/ 4509000 h 6858000"/>
              <a:gd name="connsiteX16" fmla="*/ 2930438 w 12192000"/>
              <a:gd name="connsiteY16" fmla="*/ 4509000 h 6858000"/>
              <a:gd name="connsiteX17" fmla="*/ 6257159 w 12192000"/>
              <a:gd name="connsiteY17" fmla="*/ 4509000 h 6858000"/>
              <a:gd name="connsiteX18" fmla="*/ 6286220 w 12192000"/>
              <a:gd name="connsiteY18" fmla="*/ 4509000 h 6858000"/>
              <a:gd name="connsiteX19" fmla="*/ 6979034 w 12192000"/>
              <a:gd name="connsiteY19" fmla="*/ 3819388 h 6858000"/>
              <a:gd name="connsiteX20" fmla="*/ 6979034 w 12192000"/>
              <a:gd name="connsiteY20" fmla="*/ 3140165 h 6858000"/>
              <a:gd name="connsiteX21" fmla="*/ 7671849 w 12192000"/>
              <a:gd name="connsiteY21" fmla="*/ 2450553 h 6858000"/>
              <a:gd name="connsiteX22" fmla="*/ 8029891 w 12192000"/>
              <a:gd name="connsiteY22" fmla="*/ 2450553 h 6858000"/>
              <a:gd name="connsiteX23" fmla="*/ 8067185 w 12192000"/>
              <a:gd name="connsiteY23" fmla="*/ 2450553 h 6858000"/>
              <a:gd name="connsiteX24" fmla="*/ 8759999 w 12192000"/>
              <a:gd name="connsiteY24" fmla="*/ 1760941 h 6858000"/>
              <a:gd name="connsiteX25" fmla="*/ 8759999 w 12192000"/>
              <a:gd name="connsiteY25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1538964 w 12192000"/>
              <a:gd name="connsiteY6" fmla="*/ 4509000 h 6858000"/>
              <a:gd name="connsiteX7" fmla="*/ 1861287 w 12192000"/>
              <a:gd name="connsiteY7" fmla="*/ 4509000 h 6858000"/>
              <a:gd name="connsiteX8" fmla="*/ 2227928 w 12192000"/>
              <a:gd name="connsiteY8" fmla="*/ 4509000 h 6858000"/>
              <a:gd name="connsiteX9" fmla="*/ 2238276 w 12192000"/>
              <a:gd name="connsiteY9" fmla="*/ 4509000 h 6858000"/>
              <a:gd name="connsiteX10" fmla="*/ 2594568 w 12192000"/>
              <a:gd name="connsiteY10" fmla="*/ 4509000 h 6858000"/>
              <a:gd name="connsiteX11" fmla="*/ 2606619 w 12192000"/>
              <a:gd name="connsiteY11" fmla="*/ 4509000 h 6858000"/>
              <a:gd name="connsiteX12" fmla="*/ 2764039 w 12192000"/>
              <a:gd name="connsiteY12" fmla="*/ 4509000 h 6858000"/>
              <a:gd name="connsiteX13" fmla="*/ 2776877 w 12192000"/>
              <a:gd name="connsiteY13" fmla="*/ 4509000 h 6858000"/>
              <a:gd name="connsiteX14" fmla="*/ 2916890 w 12192000"/>
              <a:gd name="connsiteY14" fmla="*/ 4509000 h 6858000"/>
              <a:gd name="connsiteX15" fmla="*/ 2930438 w 12192000"/>
              <a:gd name="connsiteY15" fmla="*/ 4509000 h 6858000"/>
              <a:gd name="connsiteX16" fmla="*/ 6257159 w 12192000"/>
              <a:gd name="connsiteY16" fmla="*/ 4509000 h 6858000"/>
              <a:gd name="connsiteX17" fmla="*/ 6286220 w 12192000"/>
              <a:gd name="connsiteY17" fmla="*/ 4509000 h 6858000"/>
              <a:gd name="connsiteX18" fmla="*/ 6979034 w 12192000"/>
              <a:gd name="connsiteY18" fmla="*/ 3819388 h 6858000"/>
              <a:gd name="connsiteX19" fmla="*/ 6979034 w 12192000"/>
              <a:gd name="connsiteY19" fmla="*/ 3140165 h 6858000"/>
              <a:gd name="connsiteX20" fmla="*/ 7671849 w 12192000"/>
              <a:gd name="connsiteY20" fmla="*/ 2450553 h 6858000"/>
              <a:gd name="connsiteX21" fmla="*/ 8029891 w 12192000"/>
              <a:gd name="connsiteY21" fmla="*/ 2450553 h 6858000"/>
              <a:gd name="connsiteX22" fmla="*/ 8067185 w 12192000"/>
              <a:gd name="connsiteY22" fmla="*/ 2450553 h 6858000"/>
              <a:gd name="connsiteX23" fmla="*/ 8759999 w 12192000"/>
              <a:gd name="connsiteY23" fmla="*/ 1760941 h 6858000"/>
              <a:gd name="connsiteX24" fmla="*/ 8759999 w 12192000"/>
              <a:gd name="connsiteY24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1538964 w 12192000"/>
              <a:gd name="connsiteY6" fmla="*/ 4509000 h 6858000"/>
              <a:gd name="connsiteX7" fmla="*/ 2227928 w 12192000"/>
              <a:gd name="connsiteY7" fmla="*/ 4509000 h 6858000"/>
              <a:gd name="connsiteX8" fmla="*/ 2238276 w 12192000"/>
              <a:gd name="connsiteY8" fmla="*/ 4509000 h 6858000"/>
              <a:gd name="connsiteX9" fmla="*/ 2594568 w 12192000"/>
              <a:gd name="connsiteY9" fmla="*/ 4509000 h 6858000"/>
              <a:gd name="connsiteX10" fmla="*/ 2606619 w 12192000"/>
              <a:gd name="connsiteY10" fmla="*/ 4509000 h 6858000"/>
              <a:gd name="connsiteX11" fmla="*/ 2764039 w 12192000"/>
              <a:gd name="connsiteY11" fmla="*/ 4509000 h 6858000"/>
              <a:gd name="connsiteX12" fmla="*/ 2776877 w 12192000"/>
              <a:gd name="connsiteY12" fmla="*/ 4509000 h 6858000"/>
              <a:gd name="connsiteX13" fmla="*/ 2916890 w 12192000"/>
              <a:gd name="connsiteY13" fmla="*/ 4509000 h 6858000"/>
              <a:gd name="connsiteX14" fmla="*/ 2930438 w 12192000"/>
              <a:gd name="connsiteY14" fmla="*/ 4509000 h 6858000"/>
              <a:gd name="connsiteX15" fmla="*/ 6257159 w 12192000"/>
              <a:gd name="connsiteY15" fmla="*/ 4509000 h 6858000"/>
              <a:gd name="connsiteX16" fmla="*/ 6286220 w 12192000"/>
              <a:gd name="connsiteY16" fmla="*/ 4509000 h 6858000"/>
              <a:gd name="connsiteX17" fmla="*/ 6979034 w 12192000"/>
              <a:gd name="connsiteY17" fmla="*/ 3819388 h 6858000"/>
              <a:gd name="connsiteX18" fmla="*/ 6979034 w 12192000"/>
              <a:gd name="connsiteY18" fmla="*/ 3140165 h 6858000"/>
              <a:gd name="connsiteX19" fmla="*/ 7671849 w 12192000"/>
              <a:gd name="connsiteY19" fmla="*/ 2450553 h 6858000"/>
              <a:gd name="connsiteX20" fmla="*/ 8029891 w 12192000"/>
              <a:gd name="connsiteY20" fmla="*/ 2450553 h 6858000"/>
              <a:gd name="connsiteX21" fmla="*/ 8067185 w 12192000"/>
              <a:gd name="connsiteY21" fmla="*/ 2450553 h 6858000"/>
              <a:gd name="connsiteX22" fmla="*/ 8759999 w 12192000"/>
              <a:gd name="connsiteY22" fmla="*/ 1760941 h 6858000"/>
              <a:gd name="connsiteX23" fmla="*/ 8759999 w 12192000"/>
              <a:gd name="connsiteY23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1538964 w 12192000"/>
              <a:gd name="connsiteY6" fmla="*/ 4509000 h 6858000"/>
              <a:gd name="connsiteX7" fmla="*/ 2227928 w 12192000"/>
              <a:gd name="connsiteY7" fmla="*/ 4509000 h 6858000"/>
              <a:gd name="connsiteX8" fmla="*/ 2594568 w 12192000"/>
              <a:gd name="connsiteY8" fmla="*/ 4509000 h 6858000"/>
              <a:gd name="connsiteX9" fmla="*/ 2606619 w 12192000"/>
              <a:gd name="connsiteY9" fmla="*/ 4509000 h 6858000"/>
              <a:gd name="connsiteX10" fmla="*/ 2764039 w 12192000"/>
              <a:gd name="connsiteY10" fmla="*/ 4509000 h 6858000"/>
              <a:gd name="connsiteX11" fmla="*/ 2776877 w 12192000"/>
              <a:gd name="connsiteY11" fmla="*/ 4509000 h 6858000"/>
              <a:gd name="connsiteX12" fmla="*/ 2916890 w 12192000"/>
              <a:gd name="connsiteY12" fmla="*/ 4509000 h 6858000"/>
              <a:gd name="connsiteX13" fmla="*/ 2930438 w 12192000"/>
              <a:gd name="connsiteY13" fmla="*/ 4509000 h 6858000"/>
              <a:gd name="connsiteX14" fmla="*/ 6257159 w 12192000"/>
              <a:gd name="connsiteY14" fmla="*/ 4509000 h 6858000"/>
              <a:gd name="connsiteX15" fmla="*/ 6286220 w 12192000"/>
              <a:gd name="connsiteY15" fmla="*/ 4509000 h 6858000"/>
              <a:gd name="connsiteX16" fmla="*/ 6979034 w 12192000"/>
              <a:gd name="connsiteY16" fmla="*/ 3819388 h 6858000"/>
              <a:gd name="connsiteX17" fmla="*/ 6979034 w 12192000"/>
              <a:gd name="connsiteY17" fmla="*/ 3140165 h 6858000"/>
              <a:gd name="connsiteX18" fmla="*/ 7671849 w 12192000"/>
              <a:gd name="connsiteY18" fmla="*/ 2450553 h 6858000"/>
              <a:gd name="connsiteX19" fmla="*/ 8029891 w 12192000"/>
              <a:gd name="connsiteY19" fmla="*/ 2450553 h 6858000"/>
              <a:gd name="connsiteX20" fmla="*/ 8067185 w 12192000"/>
              <a:gd name="connsiteY20" fmla="*/ 2450553 h 6858000"/>
              <a:gd name="connsiteX21" fmla="*/ 8759999 w 12192000"/>
              <a:gd name="connsiteY21" fmla="*/ 1760941 h 6858000"/>
              <a:gd name="connsiteX22" fmla="*/ 8759999 w 12192000"/>
              <a:gd name="connsiteY22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1538964 w 12192000"/>
              <a:gd name="connsiteY6" fmla="*/ 4509000 h 6858000"/>
              <a:gd name="connsiteX7" fmla="*/ 2227928 w 12192000"/>
              <a:gd name="connsiteY7" fmla="*/ 4509000 h 6858000"/>
              <a:gd name="connsiteX8" fmla="*/ 2594568 w 12192000"/>
              <a:gd name="connsiteY8" fmla="*/ 4509000 h 6858000"/>
              <a:gd name="connsiteX9" fmla="*/ 2764039 w 12192000"/>
              <a:gd name="connsiteY9" fmla="*/ 4509000 h 6858000"/>
              <a:gd name="connsiteX10" fmla="*/ 2776877 w 12192000"/>
              <a:gd name="connsiteY10" fmla="*/ 4509000 h 6858000"/>
              <a:gd name="connsiteX11" fmla="*/ 2916890 w 12192000"/>
              <a:gd name="connsiteY11" fmla="*/ 4509000 h 6858000"/>
              <a:gd name="connsiteX12" fmla="*/ 2930438 w 12192000"/>
              <a:gd name="connsiteY12" fmla="*/ 4509000 h 6858000"/>
              <a:gd name="connsiteX13" fmla="*/ 6257159 w 12192000"/>
              <a:gd name="connsiteY13" fmla="*/ 4509000 h 6858000"/>
              <a:gd name="connsiteX14" fmla="*/ 6286220 w 12192000"/>
              <a:gd name="connsiteY14" fmla="*/ 4509000 h 6858000"/>
              <a:gd name="connsiteX15" fmla="*/ 6979034 w 12192000"/>
              <a:gd name="connsiteY15" fmla="*/ 3819388 h 6858000"/>
              <a:gd name="connsiteX16" fmla="*/ 6979034 w 12192000"/>
              <a:gd name="connsiteY16" fmla="*/ 3140165 h 6858000"/>
              <a:gd name="connsiteX17" fmla="*/ 7671849 w 12192000"/>
              <a:gd name="connsiteY17" fmla="*/ 2450553 h 6858000"/>
              <a:gd name="connsiteX18" fmla="*/ 8029891 w 12192000"/>
              <a:gd name="connsiteY18" fmla="*/ 2450553 h 6858000"/>
              <a:gd name="connsiteX19" fmla="*/ 8067185 w 12192000"/>
              <a:gd name="connsiteY19" fmla="*/ 2450553 h 6858000"/>
              <a:gd name="connsiteX20" fmla="*/ 8759999 w 12192000"/>
              <a:gd name="connsiteY20" fmla="*/ 1760941 h 6858000"/>
              <a:gd name="connsiteX21" fmla="*/ 8759999 w 12192000"/>
              <a:gd name="connsiteY21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1538964 w 12192000"/>
              <a:gd name="connsiteY6" fmla="*/ 4509000 h 6858000"/>
              <a:gd name="connsiteX7" fmla="*/ 2227928 w 12192000"/>
              <a:gd name="connsiteY7" fmla="*/ 4509000 h 6858000"/>
              <a:gd name="connsiteX8" fmla="*/ 2594568 w 12192000"/>
              <a:gd name="connsiteY8" fmla="*/ 4509000 h 6858000"/>
              <a:gd name="connsiteX9" fmla="*/ 2764039 w 12192000"/>
              <a:gd name="connsiteY9" fmla="*/ 4509000 h 6858000"/>
              <a:gd name="connsiteX10" fmla="*/ 2916890 w 12192000"/>
              <a:gd name="connsiteY10" fmla="*/ 4509000 h 6858000"/>
              <a:gd name="connsiteX11" fmla="*/ 2930438 w 12192000"/>
              <a:gd name="connsiteY11" fmla="*/ 4509000 h 6858000"/>
              <a:gd name="connsiteX12" fmla="*/ 6257159 w 12192000"/>
              <a:gd name="connsiteY12" fmla="*/ 4509000 h 6858000"/>
              <a:gd name="connsiteX13" fmla="*/ 6286220 w 12192000"/>
              <a:gd name="connsiteY13" fmla="*/ 4509000 h 6858000"/>
              <a:gd name="connsiteX14" fmla="*/ 6979034 w 12192000"/>
              <a:gd name="connsiteY14" fmla="*/ 3819388 h 6858000"/>
              <a:gd name="connsiteX15" fmla="*/ 6979034 w 12192000"/>
              <a:gd name="connsiteY15" fmla="*/ 3140165 h 6858000"/>
              <a:gd name="connsiteX16" fmla="*/ 7671849 w 12192000"/>
              <a:gd name="connsiteY16" fmla="*/ 2450553 h 6858000"/>
              <a:gd name="connsiteX17" fmla="*/ 8029891 w 12192000"/>
              <a:gd name="connsiteY17" fmla="*/ 2450553 h 6858000"/>
              <a:gd name="connsiteX18" fmla="*/ 8067185 w 12192000"/>
              <a:gd name="connsiteY18" fmla="*/ 2450553 h 6858000"/>
              <a:gd name="connsiteX19" fmla="*/ 8759999 w 12192000"/>
              <a:gd name="connsiteY19" fmla="*/ 1760941 h 6858000"/>
              <a:gd name="connsiteX20" fmla="*/ 8759999 w 12192000"/>
              <a:gd name="connsiteY20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1538964 w 12192000"/>
              <a:gd name="connsiteY6" fmla="*/ 4509000 h 6858000"/>
              <a:gd name="connsiteX7" fmla="*/ 2227928 w 12192000"/>
              <a:gd name="connsiteY7" fmla="*/ 4509000 h 6858000"/>
              <a:gd name="connsiteX8" fmla="*/ 2594568 w 12192000"/>
              <a:gd name="connsiteY8" fmla="*/ 4509000 h 6858000"/>
              <a:gd name="connsiteX9" fmla="*/ 2916890 w 12192000"/>
              <a:gd name="connsiteY9" fmla="*/ 4509000 h 6858000"/>
              <a:gd name="connsiteX10" fmla="*/ 2930438 w 12192000"/>
              <a:gd name="connsiteY10" fmla="*/ 4509000 h 6858000"/>
              <a:gd name="connsiteX11" fmla="*/ 6257159 w 12192000"/>
              <a:gd name="connsiteY11" fmla="*/ 4509000 h 6858000"/>
              <a:gd name="connsiteX12" fmla="*/ 6286220 w 12192000"/>
              <a:gd name="connsiteY12" fmla="*/ 4509000 h 6858000"/>
              <a:gd name="connsiteX13" fmla="*/ 6979034 w 12192000"/>
              <a:gd name="connsiteY13" fmla="*/ 3819388 h 6858000"/>
              <a:gd name="connsiteX14" fmla="*/ 6979034 w 12192000"/>
              <a:gd name="connsiteY14" fmla="*/ 3140165 h 6858000"/>
              <a:gd name="connsiteX15" fmla="*/ 7671849 w 12192000"/>
              <a:gd name="connsiteY15" fmla="*/ 2450553 h 6858000"/>
              <a:gd name="connsiteX16" fmla="*/ 8029891 w 12192000"/>
              <a:gd name="connsiteY16" fmla="*/ 2450553 h 6858000"/>
              <a:gd name="connsiteX17" fmla="*/ 8067185 w 12192000"/>
              <a:gd name="connsiteY17" fmla="*/ 2450553 h 6858000"/>
              <a:gd name="connsiteX18" fmla="*/ 8759999 w 12192000"/>
              <a:gd name="connsiteY18" fmla="*/ 1760941 h 6858000"/>
              <a:gd name="connsiteX19" fmla="*/ 8759999 w 12192000"/>
              <a:gd name="connsiteY19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1538964 w 12192000"/>
              <a:gd name="connsiteY6" fmla="*/ 4509000 h 6858000"/>
              <a:gd name="connsiteX7" fmla="*/ 2227928 w 12192000"/>
              <a:gd name="connsiteY7" fmla="*/ 4509000 h 6858000"/>
              <a:gd name="connsiteX8" fmla="*/ 2594568 w 12192000"/>
              <a:gd name="connsiteY8" fmla="*/ 4509000 h 6858000"/>
              <a:gd name="connsiteX9" fmla="*/ 2916890 w 12192000"/>
              <a:gd name="connsiteY9" fmla="*/ 4509000 h 6858000"/>
              <a:gd name="connsiteX10" fmla="*/ 6257159 w 12192000"/>
              <a:gd name="connsiteY10" fmla="*/ 4509000 h 6858000"/>
              <a:gd name="connsiteX11" fmla="*/ 6286220 w 12192000"/>
              <a:gd name="connsiteY11" fmla="*/ 4509000 h 6858000"/>
              <a:gd name="connsiteX12" fmla="*/ 6979034 w 12192000"/>
              <a:gd name="connsiteY12" fmla="*/ 3819388 h 6858000"/>
              <a:gd name="connsiteX13" fmla="*/ 6979034 w 12192000"/>
              <a:gd name="connsiteY13" fmla="*/ 3140165 h 6858000"/>
              <a:gd name="connsiteX14" fmla="*/ 7671849 w 12192000"/>
              <a:gd name="connsiteY14" fmla="*/ 2450553 h 6858000"/>
              <a:gd name="connsiteX15" fmla="*/ 8029891 w 12192000"/>
              <a:gd name="connsiteY15" fmla="*/ 2450553 h 6858000"/>
              <a:gd name="connsiteX16" fmla="*/ 8067185 w 12192000"/>
              <a:gd name="connsiteY16" fmla="*/ 2450553 h 6858000"/>
              <a:gd name="connsiteX17" fmla="*/ 8759999 w 12192000"/>
              <a:gd name="connsiteY17" fmla="*/ 1760941 h 6858000"/>
              <a:gd name="connsiteX18" fmla="*/ 8759999 w 12192000"/>
              <a:gd name="connsiteY18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1538964 w 12192000"/>
              <a:gd name="connsiteY6" fmla="*/ 4509000 h 6858000"/>
              <a:gd name="connsiteX7" fmla="*/ 2227928 w 12192000"/>
              <a:gd name="connsiteY7" fmla="*/ 4509000 h 6858000"/>
              <a:gd name="connsiteX8" fmla="*/ 2916890 w 12192000"/>
              <a:gd name="connsiteY8" fmla="*/ 4509000 h 6858000"/>
              <a:gd name="connsiteX9" fmla="*/ 6257159 w 12192000"/>
              <a:gd name="connsiteY9" fmla="*/ 4509000 h 6858000"/>
              <a:gd name="connsiteX10" fmla="*/ 6286220 w 12192000"/>
              <a:gd name="connsiteY10" fmla="*/ 4509000 h 6858000"/>
              <a:gd name="connsiteX11" fmla="*/ 6979034 w 12192000"/>
              <a:gd name="connsiteY11" fmla="*/ 3819388 h 6858000"/>
              <a:gd name="connsiteX12" fmla="*/ 6979034 w 12192000"/>
              <a:gd name="connsiteY12" fmla="*/ 3140165 h 6858000"/>
              <a:gd name="connsiteX13" fmla="*/ 7671849 w 12192000"/>
              <a:gd name="connsiteY13" fmla="*/ 2450553 h 6858000"/>
              <a:gd name="connsiteX14" fmla="*/ 8029891 w 12192000"/>
              <a:gd name="connsiteY14" fmla="*/ 2450553 h 6858000"/>
              <a:gd name="connsiteX15" fmla="*/ 8067185 w 12192000"/>
              <a:gd name="connsiteY15" fmla="*/ 2450553 h 6858000"/>
              <a:gd name="connsiteX16" fmla="*/ 8759999 w 12192000"/>
              <a:gd name="connsiteY16" fmla="*/ 1760941 h 6858000"/>
              <a:gd name="connsiteX17" fmla="*/ 8759999 w 12192000"/>
              <a:gd name="connsiteY17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1538964 w 12192000"/>
              <a:gd name="connsiteY6" fmla="*/ 4509000 h 6858000"/>
              <a:gd name="connsiteX7" fmla="*/ 2227928 w 12192000"/>
              <a:gd name="connsiteY7" fmla="*/ 4509000 h 6858000"/>
              <a:gd name="connsiteX8" fmla="*/ 6257159 w 12192000"/>
              <a:gd name="connsiteY8" fmla="*/ 4509000 h 6858000"/>
              <a:gd name="connsiteX9" fmla="*/ 6286220 w 12192000"/>
              <a:gd name="connsiteY9" fmla="*/ 4509000 h 6858000"/>
              <a:gd name="connsiteX10" fmla="*/ 6979034 w 12192000"/>
              <a:gd name="connsiteY10" fmla="*/ 3819388 h 6858000"/>
              <a:gd name="connsiteX11" fmla="*/ 6979034 w 12192000"/>
              <a:gd name="connsiteY11" fmla="*/ 3140165 h 6858000"/>
              <a:gd name="connsiteX12" fmla="*/ 7671849 w 12192000"/>
              <a:gd name="connsiteY12" fmla="*/ 2450553 h 6858000"/>
              <a:gd name="connsiteX13" fmla="*/ 8029891 w 12192000"/>
              <a:gd name="connsiteY13" fmla="*/ 2450553 h 6858000"/>
              <a:gd name="connsiteX14" fmla="*/ 8067185 w 12192000"/>
              <a:gd name="connsiteY14" fmla="*/ 2450553 h 6858000"/>
              <a:gd name="connsiteX15" fmla="*/ 8759999 w 12192000"/>
              <a:gd name="connsiteY15" fmla="*/ 1760941 h 6858000"/>
              <a:gd name="connsiteX16" fmla="*/ 8759999 w 12192000"/>
              <a:gd name="connsiteY16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1538964 w 12192000"/>
              <a:gd name="connsiteY6" fmla="*/ 4509000 h 6858000"/>
              <a:gd name="connsiteX7" fmla="*/ 6257159 w 12192000"/>
              <a:gd name="connsiteY7" fmla="*/ 4509000 h 6858000"/>
              <a:gd name="connsiteX8" fmla="*/ 6286220 w 12192000"/>
              <a:gd name="connsiteY8" fmla="*/ 4509000 h 6858000"/>
              <a:gd name="connsiteX9" fmla="*/ 6979034 w 12192000"/>
              <a:gd name="connsiteY9" fmla="*/ 3819388 h 6858000"/>
              <a:gd name="connsiteX10" fmla="*/ 6979034 w 12192000"/>
              <a:gd name="connsiteY10" fmla="*/ 3140165 h 6858000"/>
              <a:gd name="connsiteX11" fmla="*/ 7671849 w 12192000"/>
              <a:gd name="connsiteY11" fmla="*/ 2450553 h 6858000"/>
              <a:gd name="connsiteX12" fmla="*/ 8029891 w 12192000"/>
              <a:gd name="connsiteY12" fmla="*/ 2450553 h 6858000"/>
              <a:gd name="connsiteX13" fmla="*/ 8067185 w 12192000"/>
              <a:gd name="connsiteY13" fmla="*/ 2450553 h 6858000"/>
              <a:gd name="connsiteX14" fmla="*/ 8759999 w 12192000"/>
              <a:gd name="connsiteY14" fmla="*/ 1760941 h 6858000"/>
              <a:gd name="connsiteX15" fmla="*/ 8759999 w 12192000"/>
              <a:gd name="connsiteY15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6257159 w 12192000"/>
              <a:gd name="connsiteY6" fmla="*/ 4509000 h 6858000"/>
              <a:gd name="connsiteX7" fmla="*/ 6286220 w 12192000"/>
              <a:gd name="connsiteY7" fmla="*/ 4509000 h 6858000"/>
              <a:gd name="connsiteX8" fmla="*/ 6979034 w 12192000"/>
              <a:gd name="connsiteY8" fmla="*/ 3819388 h 6858000"/>
              <a:gd name="connsiteX9" fmla="*/ 6979034 w 12192000"/>
              <a:gd name="connsiteY9" fmla="*/ 3140165 h 6858000"/>
              <a:gd name="connsiteX10" fmla="*/ 7671849 w 12192000"/>
              <a:gd name="connsiteY10" fmla="*/ 2450553 h 6858000"/>
              <a:gd name="connsiteX11" fmla="*/ 8029891 w 12192000"/>
              <a:gd name="connsiteY11" fmla="*/ 2450553 h 6858000"/>
              <a:gd name="connsiteX12" fmla="*/ 8067185 w 12192000"/>
              <a:gd name="connsiteY12" fmla="*/ 2450553 h 6858000"/>
              <a:gd name="connsiteX13" fmla="*/ 8759999 w 12192000"/>
              <a:gd name="connsiteY13" fmla="*/ 1760941 h 6858000"/>
              <a:gd name="connsiteX14" fmla="*/ 8759999 w 12192000"/>
              <a:gd name="connsiteY14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6257159 w 12192000"/>
              <a:gd name="connsiteY6" fmla="*/ 4509000 h 6858000"/>
              <a:gd name="connsiteX7" fmla="*/ 6979034 w 12192000"/>
              <a:gd name="connsiteY7" fmla="*/ 3819388 h 6858000"/>
              <a:gd name="connsiteX8" fmla="*/ 6979034 w 12192000"/>
              <a:gd name="connsiteY8" fmla="*/ 3140165 h 6858000"/>
              <a:gd name="connsiteX9" fmla="*/ 7671849 w 12192000"/>
              <a:gd name="connsiteY9" fmla="*/ 2450553 h 6858000"/>
              <a:gd name="connsiteX10" fmla="*/ 8029891 w 12192000"/>
              <a:gd name="connsiteY10" fmla="*/ 2450553 h 6858000"/>
              <a:gd name="connsiteX11" fmla="*/ 8067185 w 12192000"/>
              <a:gd name="connsiteY11" fmla="*/ 2450553 h 6858000"/>
              <a:gd name="connsiteX12" fmla="*/ 8759999 w 12192000"/>
              <a:gd name="connsiteY12" fmla="*/ 1760941 h 6858000"/>
              <a:gd name="connsiteX13" fmla="*/ 8759999 w 12192000"/>
              <a:gd name="connsiteY13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6979034 w 12192000"/>
              <a:gd name="connsiteY6" fmla="*/ 3819388 h 6858000"/>
              <a:gd name="connsiteX7" fmla="*/ 6979034 w 12192000"/>
              <a:gd name="connsiteY7" fmla="*/ 3140165 h 6858000"/>
              <a:gd name="connsiteX8" fmla="*/ 7671849 w 12192000"/>
              <a:gd name="connsiteY8" fmla="*/ 2450553 h 6858000"/>
              <a:gd name="connsiteX9" fmla="*/ 8029891 w 12192000"/>
              <a:gd name="connsiteY9" fmla="*/ 2450553 h 6858000"/>
              <a:gd name="connsiteX10" fmla="*/ 8067185 w 12192000"/>
              <a:gd name="connsiteY10" fmla="*/ 2450553 h 6858000"/>
              <a:gd name="connsiteX11" fmla="*/ 8759999 w 12192000"/>
              <a:gd name="connsiteY11" fmla="*/ 1760941 h 6858000"/>
              <a:gd name="connsiteX12" fmla="*/ 8759999 w 12192000"/>
              <a:gd name="connsiteY12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6979034 w 12192000"/>
              <a:gd name="connsiteY6" fmla="*/ 3140165 h 6858000"/>
              <a:gd name="connsiteX7" fmla="*/ 7671849 w 12192000"/>
              <a:gd name="connsiteY7" fmla="*/ 2450553 h 6858000"/>
              <a:gd name="connsiteX8" fmla="*/ 8029891 w 12192000"/>
              <a:gd name="connsiteY8" fmla="*/ 2450553 h 6858000"/>
              <a:gd name="connsiteX9" fmla="*/ 8067185 w 12192000"/>
              <a:gd name="connsiteY9" fmla="*/ 2450553 h 6858000"/>
              <a:gd name="connsiteX10" fmla="*/ 8759999 w 12192000"/>
              <a:gd name="connsiteY10" fmla="*/ 1760941 h 6858000"/>
              <a:gd name="connsiteX11" fmla="*/ 8759999 w 12192000"/>
              <a:gd name="connsiteY11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7671849 w 12192000"/>
              <a:gd name="connsiteY6" fmla="*/ 2450553 h 6858000"/>
              <a:gd name="connsiteX7" fmla="*/ 8029891 w 12192000"/>
              <a:gd name="connsiteY7" fmla="*/ 2450553 h 6858000"/>
              <a:gd name="connsiteX8" fmla="*/ 8067185 w 12192000"/>
              <a:gd name="connsiteY8" fmla="*/ 2450553 h 6858000"/>
              <a:gd name="connsiteX9" fmla="*/ 8759999 w 12192000"/>
              <a:gd name="connsiteY9" fmla="*/ 1760941 h 6858000"/>
              <a:gd name="connsiteX10" fmla="*/ 8759999 w 12192000"/>
              <a:gd name="connsiteY10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8029891 w 12192000"/>
              <a:gd name="connsiteY6" fmla="*/ 2450553 h 6858000"/>
              <a:gd name="connsiteX7" fmla="*/ 8067185 w 12192000"/>
              <a:gd name="connsiteY7" fmla="*/ 2450553 h 6858000"/>
              <a:gd name="connsiteX8" fmla="*/ 8759999 w 12192000"/>
              <a:gd name="connsiteY8" fmla="*/ 1760941 h 6858000"/>
              <a:gd name="connsiteX9" fmla="*/ 8759999 w 12192000"/>
              <a:gd name="connsiteY9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8029891 w 12192000"/>
              <a:gd name="connsiteY6" fmla="*/ 2450553 h 6858000"/>
              <a:gd name="connsiteX7" fmla="*/ 8759999 w 12192000"/>
              <a:gd name="connsiteY7" fmla="*/ 1760941 h 6858000"/>
              <a:gd name="connsiteX8" fmla="*/ 8759999 w 12192000"/>
              <a:gd name="connsiteY8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8759999 w 12192000"/>
              <a:gd name="connsiteY6" fmla="*/ 1760941 h 6858000"/>
              <a:gd name="connsiteX7" fmla="*/ 8759999 w 12192000"/>
              <a:gd name="connsiteY7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8759999 w 12192000"/>
              <a:gd name="connsiteY6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9145 w 12192000"/>
              <a:gd name="connsiteY5" fmla="*/ 10152 h 6858000"/>
              <a:gd name="connsiteX6" fmla="*/ 8759999 w 12192000"/>
              <a:gd name="connsiteY6" fmla="*/ 0 h 6858000"/>
              <a:gd name="connsiteX0" fmla="*/ 8759999 w 12192000"/>
              <a:gd name="connsiteY0" fmla="*/ 508523 h 7366523"/>
              <a:gd name="connsiteX1" fmla="*/ 12192000 w 12192000"/>
              <a:gd name="connsiteY1" fmla="*/ 508523 h 7366523"/>
              <a:gd name="connsiteX2" fmla="*/ 12192000 w 12192000"/>
              <a:gd name="connsiteY2" fmla="*/ 7366523 h 7366523"/>
              <a:gd name="connsiteX3" fmla="*/ 0 w 12192000"/>
              <a:gd name="connsiteY3" fmla="*/ 7366523 h 7366523"/>
              <a:gd name="connsiteX4" fmla="*/ 0 w 12192000"/>
              <a:gd name="connsiteY4" fmla="*/ 5017523 h 7366523"/>
              <a:gd name="connsiteX5" fmla="*/ 9145 w 12192000"/>
              <a:gd name="connsiteY5" fmla="*/ 518675 h 7366523"/>
              <a:gd name="connsiteX6" fmla="*/ 8759999 w 12192000"/>
              <a:gd name="connsiteY6" fmla="*/ 508523 h 7366523"/>
              <a:gd name="connsiteX0" fmla="*/ 8759999 w 12192000"/>
              <a:gd name="connsiteY0" fmla="*/ 568584 h 7426584"/>
              <a:gd name="connsiteX1" fmla="*/ 12192000 w 12192000"/>
              <a:gd name="connsiteY1" fmla="*/ 568584 h 7426584"/>
              <a:gd name="connsiteX2" fmla="*/ 12192000 w 12192000"/>
              <a:gd name="connsiteY2" fmla="*/ 7426584 h 7426584"/>
              <a:gd name="connsiteX3" fmla="*/ 0 w 12192000"/>
              <a:gd name="connsiteY3" fmla="*/ 7426584 h 7426584"/>
              <a:gd name="connsiteX4" fmla="*/ 0 w 12192000"/>
              <a:gd name="connsiteY4" fmla="*/ 5077584 h 7426584"/>
              <a:gd name="connsiteX5" fmla="*/ 9145 w 12192000"/>
              <a:gd name="connsiteY5" fmla="*/ 578736 h 7426584"/>
              <a:gd name="connsiteX6" fmla="*/ 8759999 w 12192000"/>
              <a:gd name="connsiteY6" fmla="*/ 568584 h 7426584"/>
              <a:gd name="connsiteX0" fmla="*/ 9145 w 12192000"/>
              <a:gd name="connsiteY0" fmla="*/ 10152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9145 w 12192000"/>
              <a:gd name="connsiteY5" fmla="*/ 10152 h 6858000"/>
              <a:gd name="connsiteX0" fmla="*/ 9145 w 12192000"/>
              <a:gd name="connsiteY0" fmla="*/ 10152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9145 w 12192000"/>
              <a:gd name="connsiteY4" fmla="*/ 1015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2000" h="6858000">
                <a:moveTo>
                  <a:pt x="9145" y="10152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ubicBezTo>
                  <a:pt x="3048" y="4575384"/>
                  <a:pt x="6097" y="2292768"/>
                  <a:pt x="9145" y="10152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defRPr sz="1000">
                <a:solidFill>
                  <a:schemeClr val="bg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defRPr sz="1000">
                <a:solidFill>
                  <a:schemeClr val="bg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defRPr sz="1000">
                <a:solidFill>
                  <a:schemeClr val="bg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defRPr sz="1000">
                <a:solidFill>
                  <a:schemeClr val="bg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defRPr sz="1000">
                <a:solidFill>
                  <a:schemeClr val="bg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defRPr sz="1000">
                <a:solidFill>
                  <a:schemeClr val="bg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defRPr sz="1000">
                <a:solidFill>
                  <a:schemeClr val="bg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defRPr sz="10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/>
              <a:t>Bild einfügen</a:t>
            </a: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F4EDC520-2258-154A-BE9D-E07DDEB4387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85999" y="5833800"/>
            <a:ext cx="3585600" cy="468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855CF3A-8745-495B-9FFE-CE92A5F4D68B}"/>
              </a:ext>
            </a:extLst>
          </p:cNvPr>
          <p:cNvSpPr>
            <a:spLocks noGrp="1"/>
          </p:cNvSpPr>
          <p:nvPr>
            <p:ph type="ctrTitle"/>
          </p:nvPr>
        </p:nvSpPr>
        <p:spPr bwMode="black">
          <a:xfrm>
            <a:off x="478800" y="1988840"/>
            <a:ext cx="6336000" cy="1944000"/>
          </a:xfrm>
        </p:spPr>
        <p:txBody>
          <a:bodyPr lIns="0" anchor="b"/>
          <a:lstStyle>
            <a:lvl1pPr algn="l"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931B0A1-8DE4-4F87-9296-AE72B35697A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78800" y="4112840"/>
            <a:ext cx="5472000" cy="504000"/>
          </a:xfrm>
        </p:spPr>
        <p:txBody>
          <a:bodyPr lIns="0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9pPr>
          </a:lstStyle>
          <a:p>
            <a:r>
              <a:rPr lang="de-DE"/>
              <a:t>Untertitel | Autor*in | Ort | Datum</a:t>
            </a:r>
          </a:p>
        </p:txBody>
      </p:sp>
    </p:spTree>
    <p:extLst>
      <p:ext uri="{BB962C8B-B14F-4D97-AF65-F5344CB8AC3E}">
        <p14:creationId xmlns:p14="http://schemas.microsoft.com/office/powerpoint/2010/main" val="228916245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genda 0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6692ADA0-679C-43D9-930B-FB6BDFB479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79376" y="405000"/>
            <a:ext cx="3528392" cy="72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251602982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A425B95-45FB-1045-A813-D4C7943A82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478800" y="6453000"/>
            <a:ext cx="9326146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 kern="900" baseline="0">
                <a:solidFill>
                  <a:schemeClr val="tx1"/>
                </a:solidFill>
              </a:defRPr>
            </a:lvl1pPr>
          </a:lstStyle>
          <a:p>
            <a:r>
              <a:rPr lang="de-DE"/>
              <a:t>T-Systems India - Digital Solutions 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F9914B4-2DC7-EE47-A93E-DB731E11490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11442000" y="6453000"/>
            <a:ext cx="252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A1A5E10D-79A5-49BA-9648-53481340C65F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18408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el lang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Bildplatzhalter 21">
            <a:extLst>
              <a:ext uri="{FF2B5EF4-FFF2-40B4-BE49-F238E27FC236}">
                <a16:creationId xmlns:a16="http://schemas.microsoft.com/office/drawing/2014/main" id="{48E673EF-7D81-46BF-B450-0CBD30E9B8B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ltGray">
          <a:xfrm>
            <a:off x="0" y="0"/>
            <a:ext cx="12192000" cy="6858000"/>
          </a:xfrm>
          <a:custGeom>
            <a:avLst/>
            <a:gdLst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1538964 w 12192000"/>
              <a:gd name="connsiteY6" fmla="*/ 4509000 h 6858000"/>
              <a:gd name="connsiteX7" fmla="*/ 1546112 w 12192000"/>
              <a:gd name="connsiteY7" fmla="*/ 4509000 h 6858000"/>
              <a:gd name="connsiteX8" fmla="*/ 1691816 w 12192000"/>
              <a:gd name="connsiteY8" fmla="*/ 4509000 h 6858000"/>
              <a:gd name="connsiteX9" fmla="*/ 1699674 w 12192000"/>
              <a:gd name="connsiteY9" fmla="*/ 4509000 h 6858000"/>
              <a:gd name="connsiteX10" fmla="*/ 1861287 w 12192000"/>
              <a:gd name="connsiteY10" fmla="*/ 4509000 h 6858000"/>
              <a:gd name="connsiteX11" fmla="*/ 1869932 w 12192000"/>
              <a:gd name="connsiteY11" fmla="*/ 4509000 h 6858000"/>
              <a:gd name="connsiteX12" fmla="*/ 2227928 w 12192000"/>
              <a:gd name="connsiteY12" fmla="*/ 4509000 h 6858000"/>
              <a:gd name="connsiteX13" fmla="*/ 2238276 w 12192000"/>
              <a:gd name="connsiteY13" fmla="*/ 4509000 h 6858000"/>
              <a:gd name="connsiteX14" fmla="*/ 2594568 w 12192000"/>
              <a:gd name="connsiteY14" fmla="*/ 4509000 h 6858000"/>
              <a:gd name="connsiteX15" fmla="*/ 2606619 w 12192000"/>
              <a:gd name="connsiteY15" fmla="*/ 4509000 h 6858000"/>
              <a:gd name="connsiteX16" fmla="*/ 2764039 w 12192000"/>
              <a:gd name="connsiteY16" fmla="*/ 4509000 h 6858000"/>
              <a:gd name="connsiteX17" fmla="*/ 2776877 w 12192000"/>
              <a:gd name="connsiteY17" fmla="*/ 4509000 h 6858000"/>
              <a:gd name="connsiteX18" fmla="*/ 2916890 w 12192000"/>
              <a:gd name="connsiteY18" fmla="*/ 4509000 h 6858000"/>
              <a:gd name="connsiteX19" fmla="*/ 2930438 w 12192000"/>
              <a:gd name="connsiteY19" fmla="*/ 4509000 h 6858000"/>
              <a:gd name="connsiteX20" fmla="*/ 6257159 w 12192000"/>
              <a:gd name="connsiteY20" fmla="*/ 4509000 h 6858000"/>
              <a:gd name="connsiteX21" fmla="*/ 6286220 w 12192000"/>
              <a:gd name="connsiteY21" fmla="*/ 4509000 h 6858000"/>
              <a:gd name="connsiteX22" fmla="*/ 6979034 w 12192000"/>
              <a:gd name="connsiteY22" fmla="*/ 3819388 h 6858000"/>
              <a:gd name="connsiteX23" fmla="*/ 6979034 w 12192000"/>
              <a:gd name="connsiteY23" fmla="*/ 3140165 h 6858000"/>
              <a:gd name="connsiteX24" fmla="*/ 7671849 w 12192000"/>
              <a:gd name="connsiteY24" fmla="*/ 2450553 h 6858000"/>
              <a:gd name="connsiteX25" fmla="*/ 8029891 w 12192000"/>
              <a:gd name="connsiteY25" fmla="*/ 2450553 h 6858000"/>
              <a:gd name="connsiteX26" fmla="*/ 8067185 w 12192000"/>
              <a:gd name="connsiteY26" fmla="*/ 2450553 h 6858000"/>
              <a:gd name="connsiteX27" fmla="*/ 8759999 w 12192000"/>
              <a:gd name="connsiteY27" fmla="*/ 1760941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1538964 w 12192000"/>
              <a:gd name="connsiteY6" fmla="*/ 4509000 h 6858000"/>
              <a:gd name="connsiteX7" fmla="*/ 1691816 w 12192000"/>
              <a:gd name="connsiteY7" fmla="*/ 4509000 h 6858000"/>
              <a:gd name="connsiteX8" fmla="*/ 1699674 w 12192000"/>
              <a:gd name="connsiteY8" fmla="*/ 4509000 h 6858000"/>
              <a:gd name="connsiteX9" fmla="*/ 1861287 w 12192000"/>
              <a:gd name="connsiteY9" fmla="*/ 4509000 h 6858000"/>
              <a:gd name="connsiteX10" fmla="*/ 1869932 w 12192000"/>
              <a:gd name="connsiteY10" fmla="*/ 4509000 h 6858000"/>
              <a:gd name="connsiteX11" fmla="*/ 2227928 w 12192000"/>
              <a:gd name="connsiteY11" fmla="*/ 4509000 h 6858000"/>
              <a:gd name="connsiteX12" fmla="*/ 2238276 w 12192000"/>
              <a:gd name="connsiteY12" fmla="*/ 4509000 h 6858000"/>
              <a:gd name="connsiteX13" fmla="*/ 2594568 w 12192000"/>
              <a:gd name="connsiteY13" fmla="*/ 4509000 h 6858000"/>
              <a:gd name="connsiteX14" fmla="*/ 2606619 w 12192000"/>
              <a:gd name="connsiteY14" fmla="*/ 4509000 h 6858000"/>
              <a:gd name="connsiteX15" fmla="*/ 2764039 w 12192000"/>
              <a:gd name="connsiteY15" fmla="*/ 4509000 h 6858000"/>
              <a:gd name="connsiteX16" fmla="*/ 2776877 w 12192000"/>
              <a:gd name="connsiteY16" fmla="*/ 4509000 h 6858000"/>
              <a:gd name="connsiteX17" fmla="*/ 2916890 w 12192000"/>
              <a:gd name="connsiteY17" fmla="*/ 4509000 h 6858000"/>
              <a:gd name="connsiteX18" fmla="*/ 2930438 w 12192000"/>
              <a:gd name="connsiteY18" fmla="*/ 4509000 h 6858000"/>
              <a:gd name="connsiteX19" fmla="*/ 6257159 w 12192000"/>
              <a:gd name="connsiteY19" fmla="*/ 4509000 h 6858000"/>
              <a:gd name="connsiteX20" fmla="*/ 6286220 w 12192000"/>
              <a:gd name="connsiteY20" fmla="*/ 4509000 h 6858000"/>
              <a:gd name="connsiteX21" fmla="*/ 6979034 w 12192000"/>
              <a:gd name="connsiteY21" fmla="*/ 3819388 h 6858000"/>
              <a:gd name="connsiteX22" fmla="*/ 6979034 w 12192000"/>
              <a:gd name="connsiteY22" fmla="*/ 3140165 h 6858000"/>
              <a:gd name="connsiteX23" fmla="*/ 7671849 w 12192000"/>
              <a:gd name="connsiteY23" fmla="*/ 2450553 h 6858000"/>
              <a:gd name="connsiteX24" fmla="*/ 8029891 w 12192000"/>
              <a:gd name="connsiteY24" fmla="*/ 2450553 h 6858000"/>
              <a:gd name="connsiteX25" fmla="*/ 8067185 w 12192000"/>
              <a:gd name="connsiteY25" fmla="*/ 2450553 h 6858000"/>
              <a:gd name="connsiteX26" fmla="*/ 8759999 w 12192000"/>
              <a:gd name="connsiteY26" fmla="*/ 1760941 h 6858000"/>
              <a:gd name="connsiteX27" fmla="*/ 8759999 w 12192000"/>
              <a:gd name="connsiteY27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1538964 w 12192000"/>
              <a:gd name="connsiteY6" fmla="*/ 4509000 h 6858000"/>
              <a:gd name="connsiteX7" fmla="*/ 1691816 w 12192000"/>
              <a:gd name="connsiteY7" fmla="*/ 4509000 h 6858000"/>
              <a:gd name="connsiteX8" fmla="*/ 1861287 w 12192000"/>
              <a:gd name="connsiteY8" fmla="*/ 4509000 h 6858000"/>
              <a:gd name="connsiteX9" fmla="*/ 1869932 w 12192000"/>
              <a:gd name="connsiteY9" fmla="*/ 4509000 h 6858000"/>
              <a:gd name="connsiteX10" fmla="*/ 2227928 w 12192000"/>
              <a:gd name="connsiteY10" fmla="*/ 4509000 h 6858000"/>
              <a:gd name="connsiteX11" fmla="*/ 2238276 w 12192000"/>
              <a:gd name="connsiteY11" fmla="*/ 4509000 h 6858000"/>
              <a:gd name="connsiteX12" fmla="*/ 2594568 w 12192000"/>
              <a:gd name="connsiteY12" fmla="*/ 4509000 h 6858000"/>
              <a:gd name="connsiteX13" fmla="*/ 2606619 w 12192000"/>
              <a:gd name="connsiteY13" fmla="*/ 4509000 h 6858000"/>
              <a:gd name="connsiteX14" fmla="*/ 2764039 w 12192000"/>
              <a:gd name="connsiteY14" fmla="*/ 4509000 h 6858000"/>
              <a:gd name="connsiteX15" fmla="*/ 2776877 w 12192000"/>
              <a:gd name="connsiteY15" fmla="*/ 4509000 h 6858000"/>
              <a:gd name="connsiteX16" fmla="*/ 2916890 w 12192000"/>
              <a:gd name="connsiteY16" fmla="*/ 4509000 h 6858000"/>
              <a:gd name="connsiteX17" fmla="*/ 2930438 w 12192000"/>
              <a:gd name="connsiteY17" fmla="*/ 4509000 h 6858000"/>
              <a:gd name="connsiteX18" fmla="*/ 6257159 w 12192000"/>
              <a:gd name="connsiteY18" fmla="*/ 4509000 h 6858000"/>
              <a:gd name="connsiteX19" fmla="*/ 6286220 w 12192000"/>
              <a:gd name="connsiteY19" fmla="*/ 4509000 h 6858000"/>
              <a:gd name="connsiteX20" fmla="*/ 6979034 w 12192000"/>
              <a:gd name="connsiteY20" fmla="*/ 3819388 h 6858000"/>
              <a:gd name="connsiteX21" fmla="*/ 6979034 w 12192000"/>
              <a:gd name="connsiteY21" fmla="*/ 3140165 h 6858000"/>
              <a:gd name="connsiteX22" fmla="*/ 7671849 w 12192000"/>
              <a:gd name="connsiteY22" fmla="*/ 2450553 h 6858000"/>
              <a:gd name="connsiteX23" fmla="*/ 8029891 w 12192000"/>
              <a:gd name="connsiteY23" fmla="*/ 2450553 h 6858000"/>
              <a:gd name="connsiteX24" fmla="*/ 8067185 w 12192000"/>
              <a:gd name="connsiteY24" fmla="*/ 2450553 h 6858000"/>
              <a:gd name="connsiteX25" fmla="*/ 8759999 w 12192000"/>
              <a:gd name="connsiteY25" fmla="*/ 1760941 h 6858000"/>
              <a:gd name="connsiteX26" fmla="*/ 8759999 w 12192000"/>
              <a:gd name="connsiteY26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1538964 w 12192000"/>
              <a:gd name="connsiteY6" fmla="*/ 4509000 h 6858000"/>
              <a:gd name="connsiteX7" fmla="*/ 1861287 w 12192000"/>
              <a:gd name="connsiteY7" fmla="*/ 4509000 h 6858000"/>
              <a:gd name="connsiteX8" fmla="*/ 1869932 w 12192000"/>
              <a:gd name="connsiteY8" fmla="*/ 4509000 h 6858000"/>
              <a:gd name="connsiteX9" fmla="*/ 2227928 w 12192000"/>
              <a:gd name="connsiteY9" fmla="*/ 4509000 h 6858000"/>
              <a:gd name="connsiteX10" fmla="*/ 2238276 w 12192000"/>
              <a:gd name="connsiteY10" fmla="*/ 4509000 h 6858000"/>
              <a:gd name="connsiteX11" fmla="*/ 2594568 w 12192000"/>
              <a:gd name="connsiteY11" fmla="*/ 4509000 h 6858000"/>
              <a:gd name="connsiteX12" fmla="*/ 2606619 w 12192000"/>
              <a:gd name="connsiteY12" fmla="*/ 4509000 h 6858000"/>
              <a:gd name="connsiteX13" fmla="*/ 2764039 w 12192000"/>
              <a:gd name="connsiteY13" fmla="*/ 4509000 h 6858000"/>
              <a:gd name="connsiteX14" fmla="*/ 2776877 w 12192000"/>
              <a:gd name="connsiteY14" fmla="*/ 4509000 h 6858000"/>
              <a:gd name="connsiteX15" fmla="*/ 2916890 w 12192000"/>
              <a:gd name="connsiteY15" fmla="*/ 4509000 h 6858000"/>
              <a:gd name="connsiteX16" fmla="*/ 2930438 w 12192000"/>
              <a:gd name="connsiteY16" fmla="*/ 4509000 h 6858000"/>
              <a:gd name="connsiteX17" fmla="*/ 6257159 w 12192000"/>
              <a:gd name="connsiteY17" fmla="*/ 4509000 h 6858000"/>
              <a:gd name="connsiteX18" fmla="*/ 6286220 w 12192000"/>
              <a:gd name="connsiteY18" fmla="*/ 4509000 h 6858000"/>
              <a:gd name="connsiteX19" fmla="*/ 6979034 w 12192000"/>
              <a:gd name="connsiteY19" fmla="*/ 3819388 h 6858000"/>
              <a:gd name="connsiteX20" fmla="*/ 6979034 w 12192000"/>
              <a:gd name="connsiteY20" fmla="*/ 3140165 h 6858000"/>
              <a:gd name="connsiteX21" fmla="*/ 7671849 w 12192000"/>
              <a:gd name="connsiteY21" fmla="*/ 2450553 h 6858000"/>
              <a:gd name="connsiteX22" fmla="*/ 8029891 w 12192000"/>
              <a:gd name="connsiteY22" fmla="*/ 2450553 h 6858000"/>
              <a:gd name="connsiteX23" fmla="*/ 8067185 w 12192000"/>
              <a:gd name="connsiteY23" fmla="*/ 2450553 h 6858000"/>
              <a:gd name="connsiteX24" fmla="*/ 8759999 w 12192000"/>
              <a:gd name="connsiteY24" fmla="*/ 1760941 h 6858000"/>
              <a:gd name="connsiteX25" fmla="*/ 8759999 w 12192000"/>
              <a:gd name="connsiteY25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1538964 w 12192000"/>
              <a:gd name="connsiteY6" fmla="*/ 4509000 h 6858000"/>
              <a:gd name="connsiteX7" fmla="*/ 1861287 w 12192000"/>
              <a:gd name="connsiteY7" fmla="*/ 4509000 h 6858000"/>
              <a:gd name="connsiteX8" fmla="*/ 2227928 w 12192000"/>
              <a:gd name="connsiteY8" fmla="*/ 4509000 h 6858000"/>
              <a:gd name="connsiteX9" fmla="*/ 2238276 w 12192000"/>
              <a:gd name="connsiteY9" fmla="*/ 4509000 h 6858000"/>
              <a:gd name="connsiteX10" fmla="*/ 2594568 w 12192000"/>
              <a:gd name="connsiteY10" fmla="*/ 4509000 h 6858000"/>
              <a:gd name="connsiteX11" fmla="*/ 2606619 w 12192000"/>
              <a:gd name="connsiteY11" fmla="*/ 4509000 h 6858000"/>
              <a:gd name="connsiteX12" fmla="*/ 2764039 w 12192000"/>
              <a:gd name="connsiteY12" fmla="*/ 4509000 h 6858000"/>
              <a:gd name="connsiteX13" fmla="*/ 2776877 w 12192000"/>
              <a:gd name="connsiteY13" fmla="*/ 4509000 h 6858000"/>
              <a:gd name="connsiteX14" fmla="*/ 2916890 w 12192000"/>
              <a:gd name="connsiteY14" fmla="*/ 4509000 h 6858000"/>
              <a:gd name="connsiteX15" fmla="*/ 2930438 w 12192000"/>
              <a:gd name="connsiteY15" fmla="*/ 4509000 h 6858000"/>
              <a:gd name="connsiteX16" fmla="*/ 6257159 w 12192000"/>
              <a:gd name="connsiteY16" fmla="*/ 4509000 h 6858000"/>
              <a:gd name="connsiteX17" fmla="*/ 6286220 w 12192000"/>
              <a:gd name="connsiteY17" fmla="*/ 4509000 h 6858000"/>
              <a:gd name="connsiteX18" fmla="*/ 6979034 w 12192000"/>
              <a:gd name="connsiteY18" fmla="*/ 3819388 h 6858000"/>
              <a:gd name="connsiteX19" fmla="*/ 6979034 w 12192000"/>
              <a:gd name="connsiteY19" fmla="*/ 3140165 h 6858000"/>
              <a:gd name="connsiteX20" fmla="*/ 7671849 w 12192000"/>
              <a:gd name="connsiteY20" fmla="*/ 2450553 h 6858000"/>
              <a:gd name="connsiteX21" fmla="*/ 8029891 w 12192000"/>
              <a:gd name="connsiteY21" fmla="*/ 2450553 h 6858000"/>
              <a:gd name="connsiteX22" fmla="*/ 8067185 w 12192000"/>
              <a:gd name="connsiteY22" fmla="*/ 2450553 h 6858000"/>
              <a:gd name="connsiteX23" fmla="*/ 8759999 w 12192000"/>
              <a:gd name="connsiteY23" fmla="*/ 1760941 h 6858000"/>
              <a:gd name="connsiteX24" fmla="*/ 8759999 w 12192000"/>
              <a:gd name="connsiteY24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1538964 w 12192000"/>
              <a:gd name="connsiteY6" fmla="*/ 4509000 h 6858000"/>
              <a:gd name="connsiteX7" fmla="*/ 2227928 w 12192000"/>
              <a:gd name="connsiteY7" fmla="*/ 4509000 h 6858000"/>
              <a:gd name="connsiteX8" fmla="*/ 2238276 w 12192000"/>
              <a:gd name="connsiteY8" fmla="*/ 4509000 h 6858000"/>
              <a:gd name="connsiteX9" fmla="*/ 2594568 w 12192000"/>
              <a:gd name="connsiteY9" fmla="*/ 4509000 h 6858000"/>
              <a:gd name="connsiteX10" fmla="*/ 2606619 w 12192000"/>
              <a:gd name="connsiteY10" fmla="*/ 4509000 h 6858000"/>
              <a:gd name="connsiteX11" fmla="*/ 2764039 w 12192000"/>
              <a:gd name="connsiteY11" fmla="*/ 4509000 h 6858000"/>
              <a:gd name="connsiteX12" fmla="*/ 2776877 w 12192000"/>
              <a:gd name="connsiteY12" fmla="*/ 4509000 h 6858000"/>
              <a:gd name="connsiteX13" fmla="*/ 2916890 w 12192000"/>
              <a:gd name="connsiteY13" fmla="*/ 4509000 h 6858000"/>
              <a:gd name="connsiteX14" fmla="*/ 2930438 w 12192000"/>
              <a:gd name="connsiteY14" fmla="*/ 4509000 h 6858000"/>
              <a:gd name="connsiteX15" fmla="*/ 6257159 w 12192000"/>
              <a:gd name="connsiteY15" fmla="*/ 4509000 h 6858000"/>
              <a:gd name="connsiteX16" fmla="*/ 6286220 w 12192000"/>
              <a:gd name="connsiteY16" fmla="*/ 4509000 h 6858000"/>
              <a:gd name="connsiteX17" fmla="*/ 6979034 w 12192000"/>
              <a:gd name="connsiteY17" fmla="*/ 3819388 h 6858000"/>
              <a:gd name="connsiteX18" fmla="*/ 6979034 w 12192000"/>
              <a:gd name="connsiteY18" fmla="*/ 3140165 h 6858000"/>
              <a:gd name="connsiteX19" fmla="*/ 7671849 w 12192000"/>
              <a:gd name="connsiteY19" fmla="*/ 2450553 h 6858000"/>
              <a:gd name="connsiteX20" fmla="*/ 8029891 w 12192000"/>
              <a:gd name="connsiteY20" fmla="*/ 2450553 h 6858000"/>
              <a:gd name="connsiteX21" fmla="*/ 8067185 w 12192000"/>
              <a:gd name="connsiteY21" fmla="*/ 2450553 h 6858000"/>
              <a:gd name="connsiteX22" fmla="*/ 8759999 w 12192000"/>
              <a:gd name="connsiteY22" fmla="*/ 1760941 h 6858000"/>
              <a:gd name="connsiteX23" fmla="*/ 8759999 w 12192000"/>
              <a:gd name="connsiteY23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1538964 w 12192000"/>
              <a:gd name="connsiteY6" fmla="*/ 4509000 h 6858000"/>
              <a:gd name="connsiteX7" fmla="*/ 2227928 w 12192000"/>
              <a:gd name="connsiteY7" fmla="*/ 4509000 h 6858000"/>
              <a:gd name="connsiteX8" fmla="*/ 2594568 w 12192000"/>
              <a:gd name="connsiteY8" fmla="*/ 4509000 h 6858000"/>
              <a:gd name="connsiteX9" fmla="*/ 2606619 w 12192000"/>
              <a:gd name="connsiteY9" fmla="*/ 4509000 h 6858000"/>
              <a:gd name="connsiteX10" fmla="*/ 2764039 w 12192000"/>
              <a:gd name="connsiteY10" fmla="*/ 4509000 h 6858000"/>
              <a:gd name="connsiteX11" fmla="*/ 2776877 w 12192000"/>
              <a:gd name="connsiteY11" fmla="*/ 4509000 h 6858000"/>
              <a:gd name="connsiteX12" fmla="*/ 2916890 w 12192000"/>
              <a:gd name="connsiteY12" fmla="*/ 4509000 h 6858000"/>
              <a:gd name="connsiteX13" fmla="*/ 2930438 w 12192000"/>
              <a:gd name="connsiteY13" fmla="*/ 4509000 h 6858000"/>
              <a:gd name="connsiteX14" fmla="*/ 6257159 w 12192000"/>
              <a:gd name="connsiteY14" fmla="*/ 4509000 h 6858000"/>
              <a:gd name="connsiteX15" fmla="*/ 6286220 w 12192000"/>
              <a:gd name="connsiteY15" fmla="*/ 4509000 h 6858000"/>
              <a:gd name="connsiteX16" fmla="*/ 6979034 w 12192000"/>
              <a:gd name="connsiteY16" fmla="*/ 3819388 h 6858000"/>
              <a:gd name="connsiteX17" fmla="*/ 6979034 w 12192000"/>
              <a:gd name="connsiteY17" fmla="*/ 3140165 h 6858000"/>
              <a:gd name="connsiteX18" fmla="*/ 7671849 w 12192000"/>
              <a:gd name="connsiteY18" fmla="*/ 2450553 h 6858000"/>
              <a:gd name="connsiteX19" fmla="*/ 8029891 w 12192000"/>
              <a:gd name="connsiteY19" fmla="*/ 2450553 h 6858000"/>
              <a:gd name="connsiteX20" fmla="*/ 8067185 w 12192000"/>
              <a:gd name="connsiteY20" fmla="*/ 2450553 h 6858000"/>
              <a:gd name="connsiteX21" fmla="*/ 8759999 w 12192000"/>
              <a:gd name="connsiteY21" fmla="*/ 1760941 h 6858000"/>
              <a:gd name="connsiteX22" fmla="*/ 8759999 w 12192000"/>
              <a:gd name="connsiteY22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1538964 w 12192000"/>
              <a:gd name="connsiteY6" fmla="*/ 4509000 h 6858000"/>
              <a:gd name="connsiteX7" fmla="*/ 2227928 w 12192000"/>
              <a:gd name="connsiteY7" fmla="*/ 4509000 h 6858000"/>
              <a:gd name="connsiteX8" fmla="*/ 2594568 w 12192000"/>
              <a:gd name="connsiteY8" fmla="*/ 4509000 h 6858000"/>
              <a:gd name="connsiteX9" fmla="*/ 2764039 w 12192000"/>
              <a:gd name="connsiteY9" fmla="*/ 4509000 h 6858000"/>
              <a:gd name="connsiteX10" fmla="*/ 2776877 w 12192000"/>
              <a:gd name="connsiteY10" fmla="*/ 4509000 h 6858000"/>
              <a:gd name="connsiteX11" fmla="*/ 2916890 w 12192000"/>
              <a:gd name="connsiteY11" fmla="*/ 4509000 h 6858000"/>
              <a:gd name="connsiteX12" fmla="*/ 2930438 w 12192000"/>
              <a:gd name="connsiteY12" fmla="*/ 4509000 h 6858000"/>
              <a:gd name="connsiteX13" fmla="*/ 6257159 w 12192000"/>
              <a:gd name="connsiteY13" fmla="*/ 4509000 h 6858000"/>
              <a:gd name="connsiteX14" fmla="*/ 6286220 w 12192000"/>
              <a:gd name="connsiteY14" fmla="*/ 4509000 h 6858000"/>
              <a:gd name="connsiteX15" fmla="*/ 6979034 w 12192000"/>
              <a:gd name="connsiteY15" fmla="*/ 3819388 h 6858000"/>
              <a:gd name="connsiteX16" fmla="*/ 6979034 w 12192000"/>
              <a:gd name="connsiteY16" fmla="*/ 3140165 h 6858000"/>
              <a:gd name="connsiteX17" fmla="*/ 7671849 w 12192000"/>
              <a:gd name="connsiteY17" fmla="*/ 2450553 h 6858000"/>
              <a:gd name="connsiteX18" fmla="*/ 8029891 w 12192000"/>
              <a:gd name="connsiteY18" fmla="*/ 2450553 h 6858000"/>
              <a:gd name="connsiteX19" fmla="*/ 8067185 w 12192000"/>
              <a:gd name="connsiteY19" fmla="*/ 2450553 h 6858000"/>
              <a:gd name="connsiteX20" fmla="*/ 8759999 w 12192000"/>
              <a:gd name="connsiteY20" fmla="*/ 1760941 h 6858000"/>
              <a:gd name="connsiteX21" fmla="*/ 8759999 w 12192000"/>
              <a:gd name="connsiteY21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1538964 w 12192000"/>
              <a:gd name="connsiteY6" fmla="*/ 4509000 h 6858000"/>
              <a:gd name="connsiteX7" fmla="*/ 2227928 w 12192000"/>
              <a:gd name="connsiteY7" fmla="*/ 4509000 h 6858000"/>
              <a:gd name="connsiteX8" fmla="*/ 2594568 w 12192000"/>
              <a:gd name="connsiteY8" fmla="*/ 4509000 h 6858000"/>
              <a:gd name="connsiteX9" fmla="*/ 2764039 w 12192000"/>
              <a:gd name="connsiteY9" fmla="*/ 4509000 h 6858000"/>
              <a:gd name="connsiteX10" fmla="*/ 2916890 w 12192000"/>
              <a:gd name="connsiteY10" fmla="*/ 4509000 h 6858000"/>
              <a:gd name="connsiteX11" fmla="*/ 2930438 w 12192000"/>
              <a:gd name="connsiteY11" fmla="*/ 4509000 h 6858000"/>
              <a:gd name="connsiteX12" fmla="*/ 6257159 w 12192000"/>
              <a:gd name="connsiteY12" fmla="*/ 4509000 h 6858000"/>
              <a:gd name="connsiteX13" fmla="*/ 6286220 w 12192000"/>
              <a:gd name="connsiteY13" fmla="*/ 4509000 h 6858000"/>
              <a:gd name="connsiteX14" fmla="*/ 6979034 w 12192000"/>
              <a:gd name="connsiteY14" fmla="*/ 3819388 h 6858000"/>
              <a:gd name="connsiteX15" fmla="*/ 6979034 w 12192000"/>
              <a:gd name="connsiteY15" fmla="*/ 3140165 h 6858000"/>
              <a:gd name="connsiteX16" fmla="*/ 7671849 w 12192000"/>
              <a:gd name="connsiteY16" fmla="*/ 2450553 h 6858000"/>
              <a:gd name="connsiteX17" fmla="*/ 8029891 w 12192000"/>
              <a:gd name="connsiteY17" fmla="*/ 2450553 h 6858000"/>
              <a:gd name="connsiteX18" fmla="*/ 8067185 w 12192000"/>
              <a:gd name="connsiteY18" fmla="*/ 2450553 h 6858000"/>
              <a:gd name="connsiteX19" fmla="*/ 8759999 w 12192000"/>
              <a:gd name="connsiteY19" fmla="*/ 1760941 h 6858000"/>
              <a:gd name="connsiteX20" fmla="*/ 8759999 w 12192000"/>
              <a:gd name="connsiteY20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1538964 w 12192000"/>
              <a:gd name="connsiteY6" fmla="*/ 4509000 h 6858000"/>
              <a:gd name="connsiteX7" fmla="*/ 2227928 w 12192000"/>
              <a:gd name="connsiteY7" fmla="*/ 4509000 h 6858000"/>
              <a:gd name="connsiteX8" fmla="*/ 2594568 w 12192000"/>
              <a:gd name="connsiteY8" fmla="*/ 4509000 h 6858000"/>
              <a:gd name="connsiteX9" fmla="*/ 2916890 w 12192000"/>
              <a:gd name="connsiteY9" fmla="*/ 4509000 h 6858000"/>
              <a:gd name="connsiteX10" fmla="*/ 2930438 w 12192000"/>
              <a:gd name="connsiteY10" fmla="*/ 4509000 h 6858000"/>
              <a:gd name="connsiteX11" fmla="*/ 6257159 w 12192000"/>
              <a:gd name="connsiteY11" fmla="*/ 4509000 h 6858000"/>
              <a:gd name="connsiteX12" fmla="*/ 6286220 w 12192000"/>
              <a:gd name="connsiteY12" fmla="*/ 4509000 h 6858000"/>
              <a:gd name="connsiteX13" fmla="*/ 6979034 w 12192000"/>
              <a:gd name="connsiteY13" fmla="*/ 3819388 h 6858000"/>
              <a:gd name="connsiteX14" fmla="*/ 6979034 w 12192000"/>
              <a:gd name="connsiteY14" fmla="*/ 3140165 h 6858000"/>
              <a:gd name="connsiteX15" fmla="*/ 7671849 w 12192000"/>
              <a:gd name="connsiteY15" fmla="*/ 2450553 h 6858000"/>
              <a:gd name="connsiteX16" fmla="*/ 8029891 w 12192000"/>
              <a:gd name="connsiteY16" fmla="*/ 2450553 h 6858000"/>
              <a:gd name="connsiteX17" fmla="*/ 8067185 w 12192000"/>
              <a:gd name="connsiteY17" fmla="*/ 2450553 h 6858000"/>
              <a:gd name="connsiteX18" fmla="*/ 8759999 w 12192000"/>
              <a:gd name="connsiteY18" fmla="*/ 1760941 h 6858000"/>
              <a:gd name="connsiteX19" fmla="*/ 8759999 w 12192000"/>
              <a:gd name="connsiteY19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1538964 w 12192000"/>
              <a:gd name="connsiteY6" fmla="*/ 4509000 h 6858000"/>
              <a:gd name="connsiteX7" fmla="*/ 2227928 w 12192000"/>
              <a:gd name="connsiteY7" fmla="*/ 4509000 h 6858000"/>
              <a:gd name="connsiteX8" fmla="*/ 2594568 w 12192000"/>
              <a:gd name="connsiteY8" fmla="*/ 4509000 h 6858000"/>
              <a:gd name="connsiteX9" fmla="*/ 2916890 w 12192000"/>
              <a:gd name="connsiteY9" fmla="*/ 4509000 h 6858000"/>
              <a:gd name="connsiteX10" fmla="*/ 6257159 w 12192000"/>
              <a:gd name="connsiteY10" fmla="*/ 4509000 h 6858000"/>
              <a:gd name="connsiteX11" fmla="*/ 6286220 w 12192000"/>
              <a:gd name="connsiteY11" fmla="*/ 4509000 h 6858000"/>
              <a:gd name="connsiteX12" fmla="*/ 6979034 w 12192000"/>
              <a:gd name="connsiteY12" fmla="*/ 3819388 h 6858000"/>
              <a:gd name="connsiteX13" fmla="*/ 6979034 w 12192000"/>
              <a:gd name="connsiteY13" fmla="*/ 3140165 h 6858000"/>
              <a:gd name="connsiteX14" fmla="*/ 7671849 w 12192000"/>
              <a:gd name="connsiteY14" fmla="*/ 2450553 h 6858000"/>
              <a:gd name="connsiteX15" fmla="*/ 8029891 w 12192000"/>
              <a:gd name="connsiteY15" fmla="*/ 2450553 h 6858000"/>
              <a:gd name="connsiteX16" fmla="*/ 8067185 w 12192000"/>
              <a:gd name="connsiteY16" fmla="*/ 2450553 h 6858000"/>
              <a:gd name="connsiteX17" fmla="*/ 8759999 w 12192000"/>
              <a:gd name="connsiteY17" fmla="*/ 1760941 h 6858000"/>
              <a:gd name="connsiteX18" fmla="*/ 8759999 w 12192000"/>
              <a:gd name="connsiteY18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1538964 w 12192000"/>
              <a:gd name="connsiteY6" fmla="*/ 4509000 h 6858000"/>
              <a:gd name="connsiteX7" fmla="*/ 2227928 w 12192000"/>
              <a:gd name="connsiteY7" fmla="*/ 4509000 h 6858000"/>
              <a:gd name="connsiteX8" fmla="*/ 2916890 w 12192000"/>
              <a:gd name="connsiteY8" fmla="*/ 4509000 h 6858000"/>
              <a:gd name="connsiteX9" fmla="*/ 6257159 w 12192000"/>
              <a:gd name="connsiteY9" fmla="*/ 4509000 h 6858000"/>
              <a:gd name="connsiteX10" fmla="*/ 6286220 w 12192000"/>
              <a:gd name="connsiteY10" fmla="*/ 4509000 h 6858000"/>
              <a:gd name="connsiteX11" fmla="*/ 6979034 w 12192000"/>
              <a:gd name="connsiteY11" fmla="*/ 3819388 h 6858000"/>
              <a:gd name="connsiteX12" fmla="*/ 6979034 w 12192000"/>
              <a:gd name="connsiteY12" fmla="*/ 3140165 h 6858000"/>
              <a:gd name="connsiteX13" fmla="*/ 7671849 w 12192000"/>
              <a:gd name="connsiteY13" fmla="*/ 2450553 h 6858000"/>
              <a:gd name="connsiteX14" fmla="*/ 8029891 w 12192000"/>
              <a:gd name="connsiteY14" fmla="*/ 2450553 h 6858000"/>
              <a:gd name="connsiteX15" fmla="*/ 8067185 w 12192000"/>
              <a:gd name="connsiteY15" fmla="*/ 2450553 h 6858000"/>
              <a:gd name="connsiteX16" fmla="*/ 8759999 w 12192000"/>
              <a:gd name="connsiteY16" fmla="*/ 1760941 h 6858000"/>
              <a:gd name="connsiteX17" fmla="*/ 8759999 w 12192000"/>
              <a:gd name="connsiteY17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1538964 w 12192000"/>
              <a:gd name="connsiteY6" fmla="*/ 4509000 h 6858000"/>
              <a:gd name="connsiteX7" fmla="*/ 2227928 w 12192000"/>
              <a:gd name="connsiteY7" fmla="*/ 4509000 h 6858000"/>
              <a:gd name="connsiteX8" fmla="*/ 6257159 w 12192000"/>
              <a:gd name="connsiteY8" fmla="*/ 4509000 h 6858000"/>
              <a:gd name="connsiteX9" fmla="*/ 6286220 w 12192000"/>
              <a:gd name="connsiteY9" fmla="*/ 4509000 h 6858000"/>
              <a:gd name="connsiteX10" fmla="*/ 6979034 w 12192000"/>
              <a:gd name="connsiteY10" fmla="*/ 3819388 h 6858000"/>
              <a:gd name="connsiteX11" fmla="*/ 6979034 w 12192000"/>
              <a:gd name="connsiteY11" fmla="*/ 3140165 h 6858000"/>
              <a:gd name="connsiteX12" fmla="*/ 7671849 w 12192000"/>
              <a:gd name="connsiteY12" fmla="*/ 2450553 h 6858000"/>
              <a:gd name="connsiteX13" fmla="*/ 8029891 w 12192000"/>
              <a:gd name="connsiteY13" fmla="*/ 2450553 h 6858000"/>
              <a:gd name="connsiteX14" fmla="*/ 8067185 w 12192000"/>
              <a:gd name="connsiteY14" fmla="*/ 2450553 h 6858000"/>
              <a:gd name="connsiteX15" fmla="*/ 8759999 w 12192000"/>
              <a:gd name="connsiteY15" fmla="*/ 1760941 h 6858000"/>
              <a:gd name="connsiteX16" fmla="*/ 8759999 w 12192000"/>
              <a:gd name="connsiteY16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1538964 w 12192000"/>
              <a:gd name="connsiteY6" fmla="*/ 4509000 h 6858000"/>
              <a:gd name="connsiteX7" fmla="*/ 6257159 w 12192000"/>
              <a:gd name="connsiteY7" fmla="*/ 4509000 h 6858000"/>
              <a:gd name="connsiteX8" fmla="*/ 6286220 w 12192000"/>
              <a:gd name="connsiteY8" fmla="*/ 4509000 h 6858000"/>
              <a:gd name="connsiteX9" fmla="*/ 6979034 w 12192000"/>
              <a:gd name="connsiteY9" fmla="*/ 3819388 h 6858000"/>
              <a:gd name="connsiteX10" fmla="*/ 6979034 w 12192000"/>
              <a:gd name="connsiteY10" fmla="*/ 3140165 h 6858000"/>
              <a:gd name="connsiteX11" fmla="*/ 7671849 w 12192000"/>
              <a:gd name="connsiteY11" fmla="*/ 2450553 h 6858000"/>
              <a:gd name="connsiteX12" fmla="*/ 8029891 w 12192000"/>
              <a:gd name="connsiteY12" fmla="*/ 2450553 h 6858000"/>
              <a:gd name="connsiteX13" fmla="*/ 8067185 w 12192000"/>
              <a:gd name="connsiteY13" fmla="*/ 2450553 h 6858000"/>
              <a:gd name="connsiteX14" fmla="*/ 8759999 w 12192000"/>
              <a:gd name="connsiteY14" fmla="*/ 1760941 h 6858000"/>
              <a:gd name="connsiteX15" fmla="*/ 8759999 w 12192000"/>
              <a:gd name="connsiteY15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6257159 w 12192000"/>
              <a:gd name="connsiteY6" fmla="*/ 4509000 h 6858000"/>
              <a:gd name="connsiteX7" fmla="*/ 6286220 w 12192000"/>
              <a:gd name="connsiteY7" fmla="*/ 4509000 h 6858000"/>
              <a:gd name="connsiteX8" fmla="*/ 6979034 w 12192000"/>
              <a:gd name="connsiteY8" fmla="*/ 3819388 h 6858000"/>
              <a:gd name="connsiteX9" fmla="*/ 6979034 w 12192000"/>
              <a:gd name="connsiteY9" fmla="*/ 3140165 h 6858000"/>
              <a:gd name="connsiteX10" fmla="*/ 7671849 w 12192000"/>
              <a:gd name="connsiteY10" fmla="*/ 2450553 h 6858000"/>
              <a:gd name="connsiteX11" fmla="*/ 8029891 w 12192000"/>
              <a:gd name="connsiteY11" fmla="*/ 2450553 h 6858000"/>
              <a:gd name="connsiteX12" fmla="*/ 8067185 w 12192000"/>
              <a:gd name="connsiteY12" fmla="*/ 2450553 h 6858000"/>
              <a:gd name="connsiteX13" fmla="*/ 8759999 w 12192000"/>
              <a:gd name="connsiteY13" fmla="*/ 1760941 h 6858000"/>
              <a:gd name="connsiteX14" fmla="*/ 8759999 w 12192000"/>
              <a:gd name="connsiteY14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6257159 w 12192000"/>
              <a:gd name="connsiteY6" fmla="*/ 4509000 h 6858000"/>
              <a:gd name="connsiteX7" fmla="*/ 6979034 w 12192000"/>
              <a:gd name="connsiteY7" fmla="*/ 3819388 h 6858000"/>
              <a:gd name="connsiteX8" fmla="*/ 6979034 w 12192000"/>
              <a:gd name="connsiteY8" fmla="*/ 3140165 h 6858000"/>
              <a:gd name="connsiteX9" fmla="*/ 7671849 w 12192000"/>
              <a:gd name="connsiteY9" fmla="*/ 2450553 h 6858000"/>
              <a:gd name="connsiteX10" fmla="*/ 8029891 w 12192000"/>
              <a:gd name="connsiteY10" fmla="*/ 2450553 h 6858000"/>
              <a:gd name="connsiteX11" fmla="*/ 8067185 w 12192000"/>
              <a:gd name="connsiteY11" fmla="*/ 2450553 h 6858000"/>
              <a:gd name="connsiteX12" fmla="*/ 8759999 w 12192000"/>
              <a:gd name="connsiteY12" fmla="*/ 1760941 h 6858000"/>
              <a:gd name="connsiteX13" fmla="*/ 8759999 w 12192000"/>
              <a:gd name="connsiteY13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6979034 w 12192000"/>
              <a:gd name="connsiteY6" fmla="*/ 3819388 h 6858000"/>
              <a:gd name="connsiteX7" fmla="*/ 6979034 w 12192000"/>
              <a:gd name="connsiteY7" fmla="*/ 3140165 h 6858000"/>
              <a:gd name="connsiteX8" fmla="*/ 7671849 w 12192000"/>
              <a:gd name="connsiteY8" fmla="*/ 2450553 h 6858000"/>
              <a:gd name="connsiteX9" fmla="*/ 8029891 w 12192000"/>
              <a:gd name="connsiteY9" fmla="*/ 2450553 h 6858000"/>
              <a:gd name="connsiteX10" fmla="*/ 8067185 w 12192000"/>
              <a:gd name="connsiteY10" fmla="*/ 2450553 h 6858000"/>
              <a:gd name="connsiteX11" fmla="*/ 8759999 w 12192000"/>
              <a:gd name="connsiteY11" fmla="*/ 1760941 h 6858000"/>
              <a:gd name="connsiteX12" fmla="*/ 8759999 w 12192000"/>
              <a:gd name="connsiteY12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6979034 w 12192000"/>
              <a:gd name="connsiteY6" fmla="*/ 3140165 h 6858000"/>
              <a:gd name="connsiteX7" fmla="*/ 7671849 w 12192000"/>
              <a:gd name="connsiteY7" fmla="*/ 2450553 h 6858000"/>
              <a:gd name="connsiteX8" fmla="*/ 8029891 w 12192000"/>
              <a:gd name="connsiteY8" fmla="*/ 2450553 h 6858000"/>
              <a:gd name="connsiteX9" fmla="*/ 8067185 w 12192000"/>
              <a:gd name="connsiteY9" fmla="*/ 2450553 h 6858000"/>
              <a:gd name="connsiteX10" fmla="*/ 8759999 w 12192000"/>
              <a:gd name="connsiteY10" fmla="*/ 1760941 h 6858000"/>
              <a:gd name="connsiteX11" fmla="*/ 8759999 w 12192000"/>
              <a:gd name="connsiteY11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7671849 w 12192000"/>
              <a:gd name="connsiteY6" fmla="*/ 2450553 h 6858000"/>
              <a:gd name="connsiteX7" fmla="*/ 8029891 w 12192000"/>
              <a:gd name="connsiteY7" fmla="*/ 2450553 h 6858000"/>
              <a:gd name="connsiteX8" fmla="*/ 8067185 w 12192000"/>
              <a:gd name="connsiteY8" fmla="*/ 2450553 h 6858000"/>
              <a:gd name="connsiteX9" fmla="*/ 8759999 w 12192000"/>
              <a:gd name="connsiteY9" fmla="*/ 1760941 h 6858000"/>
              <a:gd name="connsiteX10" fmla="*/ 8759999 w 12192000"/>
              <a:gd name="connsiteY10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8029891 w 12192000"/>
              <a:gd name="connsiteY6" fmla="*/ 2450553 h 6858000"/>
              <a:gd name="connsiteX7" fmla="*/ 8067185 w 12192000"/>
              <a:gd name="connsiteY7" fmla="*/ 2450553 h 6858000"/>
              <a:gd name="connsiteX8" fmla="*/ 8759999 w 12192000"/>
              <a:gd name="connsiteY8" fmla="*/ 1760941 h 6858000"/>
              <a:gd name="connsiteX9" fmla="*/ 8759999 w 12192000"/>
              <a:gd name="connsiteY9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8029891 w 12192000"/>
              <a:gd name="connsiteY6" fmla="*/ 2450553 h 6858000"/>
              <a:gd name="connsiteX7" fmla="*/ 8759999 w 12192000"/>
              <a:gd name="connsiteY7" fmla="*/ 1760941 h 6858000"/>
              <a:gd name="connsiteX8" fmla="*/ 8759999 w 12192000"/>
              <a:gd name="connsiteY8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8759999 w 12192000"/>
              <a:gd name="connsiteY6" fmla="*/ 1760941 h 6858000"/>
              <a:gd name="connsiteX7" fmla="*/ 8759999 w 12192000"/>
              <a:gd name="connsiteY7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8759999 w 12192000"/>
              <a:gd name="connsiteY6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9145 w 12192000"/>
              <a:gd name="connsiteY5" fmla="*/ 10152 h 6858000"/>
              <a:gd name="connsiteX6" fmla="*/ 8759999 w 12192000"/>
              <a:gd name="connsiteY6" fmla="*/ 0 h 6858000"/>
              <a:gd name="connsiteX0" fmla="*/ 8759999 w 12192000"/>
              <a:gd name="connsiteY0" fmla="*/ 508523 h 7366523"/>
              <a:gd name="connsiteX1" fmla="*/ 12192000 w 12192000"/>
              <a:gd name="connsiteY1" fmla="*/ 508523 h 7366523"/>
              <a:gd name="connsiteX2" fmla="*/ 12192000 w 12192000"/>
              <a:gd name="connsiteY2" fmla="*/ 7366523 h 7366523"/>
              <a:gd name="connsiteX3" fmla="*/ 0 w 12192000"/>
              <a:gd name="connsiteY3" fmla="*/ 7366523 h 7366523"/>
              <a:gd name="connsiteX4" fmla="*/ 0 w 12192000"/>
              <a:gd name="connsiteY4" fmla="*/ 5017523 h 7366523"/>
              <a:gd name="connsiteX5" fmla="*/ 9145 w 12192000"/>
              <a:gd name="connsiteY5" fmla="*/ 518675 h 7366523"/>
              <a:gd name="connsiteX6" fmla="*/ 8759999 w 12192000"/>
              <a:gd name="connsiteY6" fmla="*/ 508523 h 7366523"/>
              <a:gd name="connsiteX0" fmla="*/ 8759999 w 12192000"/>
              <a:gd name="connsiteY0" fmla="*/ 568584 h 7426584"/>
              <a:gd name="connsiteX1" fmla="*/ 12192000 w 12192000"/>
              <a:gd name="connsiteY1" fmla="*/ 568584 h 7426584"/>
              <a:gd name="connsiteX2" fmla="*/ 12192000 w 12192000"/>
              <a:gd name="connsiteY2" fmla="*/ 7426584 h 7426584"/>
              <a:gd name="connsiteX3" fmla="*/ 0 w 12192000"/>
              <a:gd name="connsiteY3" fmla="*/ 7426584 h 7426584"/>
              <a:gd name="connsiteX4" fmla="*/ 0 w 12192000"/>
              <a:gd name="connsiteY4" fmla="*/ 5077584 h 7426584"/>
              <a:gd name="connsiteX5" fmla="*/ 9145 w 12192000"/>
              <a:gd name="connsiteY5" fmla="*/ 578736 h 7426584"/>
              <a:gd name="connsiteX6" fmla="*/ 8759999 w 12192000"/>
              <a:gd name="connsiteY6" fmla="*/ 568584 h 7426584"/>
              <a:gd name="connsiteX0" fmla="*/ 9145 w 12192000"/>
              <a:gd name="connsiteY0" fmla="*/ 10152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9145 w 12192000"/>
              <a:gd name="connsiteY5" fmla="*/ 10152 h 6858000"/>
              <a:gd name="connsiteX0" fmla="*/ 9145 w 12192000"/>
              <a:gd name="connsiteY0" fmla="*/ 10152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9145 w 12192000"/>
              <a:gd name="connsiteY4" fmla="*/ 1015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2000" h="6858000">
                <a:moveTo>
                  <a:pt x="9145" y="10152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ubicBezTo>
                  <a:pt x="3048" y="4575384"/>
                  <a:pt x="6097" y="2292768"/>
                  <a:pt x="9145" y="10152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defRPr sz="1000">
                <a:solidFill>
                  <a:schemeClr val="bg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defRPr sz="1000">
                <a:solidFill>
                  <a:schemeClr val="bg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defRPr sz="1000">
                <a:solidFill>
                  <a:schemeClr val="bg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defRPr sz="1000">
                <a:solidFill>
                  <a:schemeClr val="bg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defRPr sz="1000">
                <a:solidFill>
                  <a:schemeClr val="bg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defRPr sz="1000">
                <a:solidFill>
                  <a:schemeClr val="bg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defRPr sz="1000">
                <a:solidFill>
                  <a:schemeClr val="bg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defRPr sz="10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/>
              <a:t>Bild einfügen</a:t>
            </a:r>
          </a:p>
        </p:txBody>
      </p:sp>
      <p:sp>
        <p:nvSpPr>
          <p:cNvPr id="7" name="Bildplatzhalter 8">
            <a:extLst>
              <a:ext uri="{FF2B5EF4-FFF2-40B4-BE49-F238E27FC236}">
                <a16:creationId xmlns:a16="http://schemas.microsoft.com/office/drawing/2014/main" id="{84CDAD80-E892-D74A-B78D-B5AA7D4B921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85999" y="5833800"/>
            <a:ext cx="3585600" cy="468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855CF3A-8745-495B-9FFE-CE92A5F4D68B}"/>
              </a:ext>
            </a:extLst>
          </p:cNvPr>
          <p:cNvSpPr>
            <a:spLocks noGrp="1"/>
          </p:cNvSpPr>
          <p:nvPr>
            <p:ph type="ctrTitle"/>
          </p:nvPr>
        </p:nvSpPr>
        <p:spPr bwMode="black">
          <a:xfrm>
            <a:off x="478800" y="1988840"/>
            <a:ext cx="6336000" cy="1944000"/>
          </a:xfrm>
        </p:spPr>
        <p:txBody>
          <a:bodyPr lIns="0" anchor="b"/>
          <a:lstStyle>
            <a:lvl1pPr algn="l"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931B0A1-8DE4-4F87-9296-AE72B35697A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78800" y="4112840"/>
            <a:ext cx="5472000" cy="504000"/>
          </a:xfrm>
        </p:spPr>
        <p:txBody>
          <a:bodyPr lIns="0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9pPr>
          </a:lstStyle>
          <a:p>
            <a:r>
              <a:rPr lang="de-DE"/>
              <a:t>Untertitel | Autor*in | Ort | Datum</a:t>
            </a:r>
          </a:p>
        </p:txBody>
      </p:sp>
    </p:spTree>
    <p:extLst>
      <p:ext uri="{BB962C8B-B14F-4D97-AF65-F5344CB8AC3E}">
        <p14:creationId xmlns:p14="http://schemas.microsoft.com/office/powerpoint/2010/main" val="215110048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Zwei Inhalte mit Highligh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4CF5EE6-FFD8-44FD-9C80-95B68F34D2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>
            <a:noAutofit/>
          </a:bodyPr>
          <a:lstStyle>
            <a:lvl1pPr>
              <a:defRPr/>
            </a:lvl1pPr>
          </a:lstStyle>
          <a:p>
            <a:r>
              <a:rPr lang="de-DE"/>
              <a:t>Überschrift einzeilig </a:t>
            </a:r>
            <a:r>
              <a:rPr lang="de-DE" err="1"/>
              <a:t>40pt</a:t>
            </a:r>
            <a:r>
              <a:rPr lang="de-DE"/>
              <a:t> (zweizeilig </a:t>
            </a:r>
            <a:r>
              <a:rPr lang="de-DE" err="1"/>
              <a:t>24pt</a:t>
            </a:r>
            <a:r>
              <a:rPr lang="de-DE"/>
              <a:t>)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8A968421-13D9-452E-9E1F-D6F5FE4699B5}"/>
              </a:ext>
            </a:extLst>
          </p:cNvPr>
          <p:cNvSpPr>
            <a:spLocks noGrp="1"/>
          </p:cNvSpPr>
          <p:nvPr>
            <p:ph sz="quarter" idx="12"/>
          </p:nvPr>
        </p:nvSpPr>
        <p:spPr bwMode="black">
          <a:xfrm>
            <a:off x="479425" y="1484313"/>
            <a:ext cx="3600575" cy="4752000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61FA861B-DD93-4B8B-8DB8-0BCD738A1724}"/>
              </a:ext>
            </a:extLst>
          </p:cNvPr>
          <p:cNvSpPr>
            <a:spLocks noGrp="1"/>
          </p:cNvSpPr>
          <p:nvPr>
            <p:ph sz="quarter" idx="13"/>
          </p:nvPr>
        </p:nvSpPr>
        <p:spPr bwMode="black">
          <a:xfrm>
            <a:off x="4223425" y="1484313"/>
            <a:ext cx="3600575" cy="4752000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51E35917-C910-4744-96DF-422D74FCDD6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478800" y="6453000"/>
            <a:ext cx="9326146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 kern="900" baseline="0">
                <a:solidFill>
                  <a:schemeClr val="tx1"/>
                </a:solidFill>
              </a:defRPr>
            </a:lvl1pPr>
          </a:lstStyle>
          <a:p>
            <a:r>
              <a:rPr lang="de-DE"/>
              <a:t>T-Systems India - Digital Solutions </a:t>
            </a:r>
          </a:p>
        </p:txBody>
      </p:sp>
      <p:sp>
        <p:nvSpPr>
          <p:cNvPr id="11" name="Foliennummernplatzhalter 5">
            <a:extLst>
              <a:ext uri="{FF2B5EF4-FFF2-40B4-BE49-F238E27FC236}">
                <a16:creationId xmlns:a16="http://schemas.microsoft.com/office/drawing/2014/main" id="{2F57FED8-1C48-FA4E-AB8B-42306D33F7C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11442000" y="6453000"/>
            <a:ext cx="252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A1A5E10D-79A5-49BA-9648-53481340C65F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3" name="Freeform: Shape 12">
            <a:extLst>
              <a:ext uri="{FF2B5EF4-FFF2-40B4-BE49-F238E27FC236}">
                <a16:creationId xmlns:a16="http://schemas.microsoft.com/office/drawing/2014/main" id="{FC8CCC06-F9F0-1919-0EC2-AA14873BB108}"/>
              </a:ext>
            </a:extLst>
          </p:cNvPr>
          <p:cNvSpPr/>
          <p:nvPr userDrawn="1"/>
        </p:nvSpPr>
        <p:spPr bwMode="gray">
          <a:xfrm>
            <a:off x="7913792" y="1484312"/>
            <a:ext cx="4278208" cy="4897438"/>
          </a:xfrm>
          <a:custGeom>
            <a:avLst/>
            <a:gdLst>
              <a:gd name="connsiteX0" fmla="*/ 3150760 w 4278208"/>
              <a:gd name="connsiteY0" fmla="*/ 0 h 4897438"/>
              <a:gd name="connsiteX1" fmla="*/ 4278208 w 4278208"/>
              <a:gd name="connsiteY1" fmla="*/ 0 h 4897438"/>
              <a:gd name="connsiteX2" fmla="*/ 4278208 w 4278208"/>
              <a:gd name="connsiteY2" fmla="*/ 4897438 h 4897438"/>
              <a:gd name="connsiteX3" fmla="*/ 4089262 w 4278208"/>
              <a:gd name="connsiteY3" fmla="*/ 4897438 h 4897438"/>
              <a:gd name="connsiteX4" fmla="*/ 3150760 w 4278208"/>
              <a:gd name="connsiteY4" fmla="*/ 4897438 h 4897438"/>
              <a:gd name="connsiteX5" fmla="*/ 0 w 4278208"/>
              <a:gd name="connsiteY5" fmla="*/ 4897438 h 4897438"/>
              <a:gd name="connsiteX6" fmla="*/ 163558 w 4278208"/>
              <a:gd name="connsiteY6" fmla="*/ 4029750 h 4897438"/>
              <a:gd name="connsiteX7" fmla="*/ 913209 w 4278208"/>
              <a:gd name="connsiteY7" fmla="*/ 677 h 4897438"/>
              <a:gd name="connsiteX8" fmla="*/ 3150760 w 4278208"/>
              <a:gd name="connsiteY8" fmla="*/ 677 h 48974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278208" h="4897438">
                <a:moveTo>
                  <a:pt x="3150760" y="0"/>
                </a:moveTo>
                <a:lnTo>
                  <a:pt x="4278208" y="0"/>
                </a:lnTo>
                <a:lnTo>
                  <a:pt x="4278208" y="4897438"/>
                </a:lnTo>
                <a:lnTo>
                  <a:pt x="4089262" y="4897438"/>
                </a:lnTo>
                <a:lnTo>
                  <a:pt x="3150760" y="4897438"/>
                </a:lnTo>
                <a:lnTo>
                  <a:pt x="0" y="4897438"/>
                </a:lnTo>
                <a:lnTo>
                  <a:pt x="163558" y="4029750"/>
                </a:lnTo>
                <a:cubicBezTo>
                  <a:pt x="413442" y="2686726"/>
                  <a:pt x="655958" y="1343702"/>
                  <a:pt x="913209" y="677"/>
                </a:cubicBezTo>
                <a:lnTo>
                  <a:pt x="3150760" y="677"/>
                </a:lnTo>
                <a:close/>
              </a:path>
            </a:pathLst>
          </a:custGeom>
          <a:solidFill>
            <a:schemeClr val="tx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204021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itel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4" name="Bildplatzhalter 23">
            <a:extLst>
              <a:ext uri="{FF2B5EF4-FFF2-40B4-BE49-F238E27FC236}">
                <a16:creationId xmlns:a16="http://schemas.microsoft.com/office/drawing/2014/main" id="{F1A5A0C3-6E00-10BC-3E28-CD6340D0C74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black">
          <a:xfrm>
            <a:off x="1518" y="-1676"/>
            <a:ext cx="12189600" cy="6859675"/>
          </a:xfrm>
          <a:custGeom>
            <a:avLst/>
            <a:gdLst>
              <a:gd name="connsiteX0" fmla="*/ 7733853 w 12186000"/>
              <a:gd name="connsiteY0" fmla="*/ 0 h 6858000"/>
              <a:gd name="connsiteX1" fmla="*/ 12186000 w 12186000"/>
              <a:gd name="connsiteY1" fmla="*/ 0 h 6858000"/>
              <a:gd name="connsiteX2" fmla="*/ 12186000 w 12186000"/>
              <a:gd name="connsiteY2" fmla="*/ 6858000 h 6858000"/>
              <a:gd name="connsiteX3" fmla="*/ 0 w 12186000"/>
              <a:gd name="connsiteY3" fmla="*/ 6858000 h 6858000"/>
              <a:gd name="connsiteX4" fmla="*/ 0 w 12186000"/>
              <a:gd name="connsiteY4" fmla="*/ 4904066 h 6858000"/>
              <a:gd name="connsiteX5" fmla="*/ 1584 w 12186000"/>
              <a:gd name="connsiteY5" fmla="*/ 4891638 h 6858000"/>
              <a:gd name="connsiteX6" fmla="*/ 405886 w 12186000"/>
              <a:gd name="connsiteY6" fmla="*/ 5534937 h 6858000"/>
              <a:gd name="connsiteX7" fmla="*/ 1060197 w 12186000"/>
              <a:gd name="connsiteY7" fmla="*/ 4490729 h 6858000"/>
              <a:gd name="connsiteX8" fmla="*/ 4031527 w 12186000"/>
              <a:gd name="connsiteY8" fmla="*/ 4490729 h 6858000"/>
              <a:gd name="connsiteX9" fmla="*/ 5218936 w 12186000"/>
              <a:gd name="connsiteY9" fmla="*/ 2600672 h 6858000"/>
              <a:gd name="connsiteX10" fmla="*/ 6100006 w 12186000"/>
              <a:gd name="connsiteY10" fmla="*/ 260067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86000" h="6858000">
                <a:moveTo>
                  <a:pt x="7733853" y="0"/>
                </a:moveTo>
                <a:lnTo>
                  <a:pt x="12186000" y="0"/>
                </a:lnTo>
                <a:lnTo>
                  <a:pt x="12186000" y="6858000"/>
                </a:lnTo>
                <a:lnTo>
                  <a:pt x="0" y="6858000"/>
                </a:lnTo>
                <a:lnTo>
                  <a:pt x="0" y="4904066"/>
                </a:lnTo>
                <a:lnTo>
                  <a:pt x="1584" y="4891638"/>
                </a:lnTo>
                <a:lnTo>
                  <a:pt x="405886" y="5534937"/>
                </a:lnTo>
                <a:lnTo>
                  <a:pt x="1060197" y="4490729"/>
                </a:lnTo>
                <a:lnTo>
                  <a:pt x="4031527" y="4490729"/>
                </a:lnTo>
                <a:lnTo>
                  <a:pt x="5218936" y="2600672"/>
                </a:lnTo>
                <a:lnTo>
                  <a:pt x="6100006" y="260067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de-DE"/>
              <a:t>Bild durch Klicken auf Symbol hinzufügen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E06200C7-3B76-A44D-E941-30128673D3C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8328248" cy="5545224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7855CF3A-8745-495B-9FFE-CE92A5F4D68B}"/>
              </a:ext>
            </a:extLst>
          </p:cNvPr>
          <p:cNvSpPr>
            <a:spLocks noGrp="1"/>
          </p:cNvSpPr>
          <p:nvPr>
            <p:ph type="ctrTitle"/>
          </p:nvPr>
        </p:nvSpPr>
        <p:spPr bwMode="black">
          <a:xfrm>
            <a:off x="478800" y="476672"/>
            <a:ext cx="5617200" cy="1944000"/>
          </a:xfrm>
        </p:spPr>
        <p:txBody>
          <a:bodyPr lIns="0" anchor="t" anchorCtr="0"/>
          <a:lstStyle>
            <a:lvl1pPr algn="l"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931B0A1-8DE4-4F87-9296-AE72B35697A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78800" y="2600672"/>
            <a:ext cx="4249048" cy="504000"/>
          </a:xfrm>
        </p:spPr>
        <p:txBody>
          <a:bodyPr lIns="0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9pPr>
          </a:lstStyle>
          <a:p>
            <a:r>
              <a:rPr lang="de-DE"/>
              <a:t>Untertitel | Autor*in | Ort | Datum</a:t>
            </a:r>
          </a:p>
        </p:txBody>
      </p:sp>
      <p:sp>
        <p:nvSpPr>
          <p:cNvPr id="4" name="Bildplatzhalter 8">
            <a:extLst>
              <a:ext uri="{FF2B5EF4-FFF2-40B4-BE49-F238E27FC236}">
                <a16:creationId xmlns:a16="http://schemas.microsoft.com/office/drawing/2014/main" id="{29AE04C1-F35C-3875-98D0-027CF21EAA5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5999" y="3495614"/>
            <a:ext cx="3585600" cy="4680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5790863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Inhalt mit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93F1334-0C30-417F-8C36-14E54C69E5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>
            <a:noAutofit/>
          </a:bodyPr>
          <a:lstStyle>
            <a:lvl1pPr>
              <a:defRPr/>
            </a:lvl1pPr>
          </a:lstStyle>
          <a:p>
            <a:r>
              <a:rPr lang="de-DE"/>
              <a:t>Überschrift einzeilig </a:t>
            </a:r>
            <a:r>
              <a:rPr lang="de-DE" err="1"/>
              <a:t>40pt</a:t>
            </a:r>
            <a:r>
              <a:rPr lang="de-DE"/>
              <a:t> (zweizeilig </a:t>
            </a:r>
            <a:r>
              <a:rPr lang="de-DE" err="1"/>
              <a:t>24pt</a:t>
            </a:r>
            <a:r>
              <a:rPr lang="de-DE"/>
              <a:t>)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2390C6A2-43FF-4452-B80E-84686F69C3A3}"/>
              </a:ext>
            </a:extLst>
          </p:cNvPr>
          <p:cNvSpPr>
            <a:spLocks noGrp="1"/>
          </p:cNvSpPr>
          <p:nvPr>
            <p:ph sz="quarter" idx="12"/>
          </p:nvPr>
        </p:nvSpPr>
        <p:spPr bwMode="black">
          <a:xfrm>
            <a:off x="479425" y="1484588"/>
            <a:ext cx="3600575" cy="4752000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F0F78BCD-19BD-284D-A7A4-F6D6B578D2A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478800" y="6453000"/>
            <a:ext cx="9326146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 kern="900" baseline="0">
                <a:solidFill>
                  <a:schemeClr val="tx1"/>
                </a:solidFill>
              </a:defRPr>
            </a:lvl1pPr>
          </a:lstStyle>
          <a:p>
            <a:r>
              <a:rPr lang="de-DE"/>
              <a:t>T-Systems India - Digital Solutions </a:t>
            </a:r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61297F61-6F52-E040-9606-AACABB497B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11442000" y="6453000"/>
            <a:ext cx="252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A1A5E10D-79A5-49BA-9648-53481340C65F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3" name="Freeform: Shape 11">
            <a:extLst>
              <a:ext uri="{FF2B5EF4-FFF2-40B4-BE49-F238E27FC236}">
                <a16:creationId xmlns:a16="http://schemas.microsoft.com/office/drawing/2014/main" id="{48F24D65-4C94-9E4F-934A-CE1A59122E65}"/>
              </a:ext>
            </a:extLst>
          </p:cNvPr>
          <p:cNvSpPr/>
          <p:nvPr userDrawn="1"/>
        </p:nvSpPr>
        <p:spPr bwMode="gray">
          <a:xfrm>
            <a:off x="4295800" y="1484312"/>
            <a:ext cx="7896200" cy="4897438"/>
          </a:xfrm>
          <a:custGeom>
            <a:avLst/>
            <a:gdLst>
              <a:gd name="connsiteX0" fmla="*/ 3150760 w 7896200"/>
              <a:gd name="connsiteY0" fmla="*/ 0 h 4897438"/>
              <a:gd name="connsiteX1" fmla="*/ 4278208 w 7896200"/>
              <a:gd name="connsiteY1" fmla="*/ 0 h 4897438"/>
              <a:gd name="connsiteX2" fmla="*/ 4278208 w 7896200"/>
              <a:gd name="connsiteY2" fmla="*/ 816 h 4897438"/>
              <a:gd name="connsiteX3" fmla="*/ 7896200 w 7896200"/>
              <a:gd name="connsiteY3" fmla="*/ 816 h 4897438"/>
              <a:gd name="connsiteX4" fmla="*/ 7896200 w 7896200"/>
              <a:gd name="connsiteY4" fmla="*/ 4897438 h 4897438"/>
              <a:gd name="connsiteX5" fmla="*/ 4278208 w 7896200"/>
              <a:gd name="connsiteY5" fmla="*/ 4897438 h 4897438"/>
              <a:gd name="connsiteX6" fmla="*/ 4089262 w 7896200"/>
              <a:gd name="connsiteY6" fmla="*/ 4897438 h 4897438"/>
              <a:gd name="connsiteX7" fmla="*/ 3150760 w 7896200"/>
              <a:gd name="connsiteY7" fmla="*/ 4897438 h 4897438"/>
              <a:gd name="connsiteX8" fmla="*/ 74220 w 7896200"/>
              <a:gd name="connsiteY8" fmla="*/ 4897438 h 4897438"/>
              <a:gd name="connsiteX9" fmla="*/ 0 w 7896200"/>
              <a:gd name="connsiteY9" fmla="*/ 4897438 h 4897438"/>
              <a:gd name="connsiteX10" fmla="*/ 163558 w 7896200"/>
              <a:gd name="connsiteY10" fmla="*/ 4029750 h 4897438"/>
              <a:gd name="connsiteX11" fmla="*/ 913209 w 7896200"/>
              <a:gd name="connsiteY11" fmla="*/ 677 h 4897438"/>
              <a:gd name="connsiteX12" fmla="*/ 3150760 w 7896200"/>
              <a:gd name="connsiteY12" fmla="*/ 677 h 48974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7896200" h="4897438">
                <a:moveTo>
                  <a:pt x="3150760" y="0"/>
                </a:moveTo>
                <a:lnTo>
                  <a:pt x="4278208" y="0"/>
                </a:lnTo>
                <a:lnTo>
                  <a:pt x="4278208" y="816"/>
                </a:lnTo>
                <a:lnTo>
                  <a:pt x="7896200" y="816"/>
                </a:lnTo>
                <a:lnTo>
                  <a:pt x="7896200" y="4897438"/>
                </a:lnTo>
                <a:lnTo>
                  <a:pt x="4278208" y="4897438"/>
                </a:lnTo>
                <a:lnTo>
                  <a:pt x="4089262" y="4897438"/>
                </a:lnTo>
                <a:lnTo>
                  <a:pt x="3150760" y="4897438"/>
                </a:lnTo>
                <a:lnTo>
                  <a:pt x="74220" y="4897438"/>
                </a:lnTo>
                <a:lnTo>
                  <a:pt x="0" y="4897438"/>
                </a:lnTo>
                <a:lnTo>
                  <a:pt x="163558" y="4029750"/>
                </a:lnTo>
                <a:cubicBezTo>
                  <a:pt x="413442" y="2686726"/>
                  <a:pt x="655958" y="1343702"/>
                  <a:pt x="913209" y="677"/>
                </a:cubicBezTo>
                <a:lnTo>
                  <a:pt x="3150760" y="677"/>
                </a:lnTo>
                <a:close/>
              </a:path>
            </a:pathLst>
          </a:custGeom>
          <a:solidFill>
            <a:srgbClr val="E20074"/>
          </a:solidFill>
          <a:ln w="301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2235401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Agend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>
            <a:extLst>
              <a:ext uri="{FF2B5EF4-FFF2-40B4-BE49-F238E27FC236}">
                <a16:creationId xmlns:a16="http://schemas.microsoft.com/office/drawing/2014/main" id="{093F1312-E045-45D5-9070-E0D61D89569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0"/>
            <a:ext cx="5121825" cy="6858000"/>
          </a:xfrm>
          <a:custGeom>
            <a:avLst/>
            <a:gdLst>
              <a:gd name="connsiteX0" fmla="*/ 0 w 5121825"/>
              <a:gd name="connsiteY0" fmla="*/ 0 h 6858000"/>
              <a:gd name="connsiteX1" fmla="*/ 5121825 w 5121825"/>
              <a:gd name="connsiteY1" fmla="*/ 0 h 6858000"/>
              <a:gd name="connsiteX2" fmla="*/ 3858175 w 5121825"/>
              <a:gd name="connsiteY2" fmla="*/ 6858000 h 6858000"/>
              <a:gd name="connsiteX3" fmla="*/ 0 w 512182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21825" h="6858000">
                <a:moveTo>
                  <a:pt x="0" y="0"/>
                </a:moveTo>
                <a:lnTo>
                  <a:pt x="5121825" y="0"/>
                </a:lnTo>
                <a:lnTo>
                  <a:pt x="385817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de-DE"/>
              <a:t>Bild einfügen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6692ADA0-679C-43D9-930B-FB6BDFB479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79376" y="405000"/>
            <a:ext cx="3528392" cy="7200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389707168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white background with lines&#10;&#10;Description automatically generated">
            <a:extLst>
              <a:ext uri="{FF2B5EF4-FFF2-40B4-BE49-F238E27FC236}">
                <a16:creationId xmlns:a16="http://schemas.microsoft.com/office/drawing/2014/main" id="{6F94D434-99EC-188C-C859-D2C96CC9F95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65000"/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0089F108-617C-1F08-7CB5-8DE370167033}"/>
              </a:ext>
            </a:extLst>
          </p:cNvPr>
          <p:cNvSpPr/>
          <p:nvPr userDrawn="1"/>
        </p:nvSpPr>
        <p:spPr>
          <a:xfrm>
            <a:off x="0" y="81000"/>
            <a:ext cx="12192000" cy="669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40000">
                <a:schemeClr val="bg1">
                  <a:alpha val="75000"/>
                </a:schemeClr>
              </a:gs>
              <a:gs pos="64000">
                <a:schemeClr val="bg1">
                  <a:alpha val="75000"/>
                </a:schemeClr>
              </a:gs>
              <a:gs pos="100000">
                <a:schemeClr val="bg1">
                  <a:alpha val="0"/>
                </a:schemeClr>
              </a:gs>
            </a:gsLst>
            <a:lin ang="1620000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US"/>
          </a:p>
        </p:txBody>
      </p:sp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006B34E1-C225-6D42-C033-13BE18FEA1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3344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2" imgH="533" progId="TCLayout.ActiveDocument.1">
                  <p:embed/>
                </p:oleObj>
              </mc:Choice>
              <mc:Fallback>
                <p:oleObj name="think-cell Slide" r:id="rId4" imgW="532" imgH="53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06B34E1-C225-6D42-C033-13BE18FEA1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56EFC226-BB11-4405-967C-3564772CC2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 vert="horz" anchor="t">
            <a:noAutofit/>
          </a:bodyPr>
          <a:lstStyle>
            <a:lvl1pPr>
              <a:defRPr sz="3600"/>
            </a:lvl1pPr>
          </a:lstStyle>
          <a:p>
            <a:r>
              <a:rPr lang="de-DE"/>
              <a:t>Überschrift einzeilig 36pt (zweizeilig 28pt)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B159EBD-37DC-4B44-889A-8EFC900C81D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478800" y="6453000"/>
            <a:ext cx="9326146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 kern="9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onfidential</a:t>
            </a:r>
            <a:endParaRPr lang="de-DE"/>
          </a:p>
        </p:txBody>
      </p:sp>
      <p:sp>
        <p:nvSpPr>
          <p:cNvPr id="7" name="Foliennummernplatzhalter 5">
            <a:extLst>
              <a:ext uri="{FF2B5EF4-FFF2-40B4-BE49-F238E27FC236}">
                <a16:creationId xmlns:a16="http://schemas.microsoft.com/office/drawing/2014/main" id="{ED8BDE15-B3DB-7E4A-AA8F-2813E89C445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11442000" y="6453000"/>
            <a:ext cx="252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A1A5E10D-79A5-49BA-9648-53481340C65F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3FD8C39E-9A9B-EAD8-8327-43D817A88350}"/>
              </a:ext>
            </a:extLst>
          </p:cNvPr>
          <p:cNvSpPr/>
          <p:nvPr userDrawn="1"/>
        </p:nvSpPr>
        <p:spPr>
          <a:xfrm>
            <a:off x="12225868" y="0"/>
            <a:ext cx="63500" cy="63500"/>
          </a:xfrm>
          <a:prstGeom prst="ellipse">
            <a:avLst/>
          </a:prstGeom>
          <a:solidFill>
            <a:schemeClr val="tx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942144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Titel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D490A714-F82C-4544-9605-E188B85C25D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black">
          <a:xfrm>
            <a:off x="-3201" y="0"/>
            <a:ext cx="12211827" cy="6861600"/>
          </a:xfrm>
          <a:custGeom>
            <a:avLst/>
            <a:gdLst>
              <a:gd name="connsiteX0" fmla="*/ 12196800 w 12211827"/>
              <a:gd name="connsiteY0" fmla="*/ 0 h 6861600"/>
              <a:gd name="connsiteX1" fmla="*/ 12211827 w 12211827"/>
              <a:gd name="connsiteY1" fmla="*/ 0 h 6861600"/>
              <a:gd name="connsiteX2" fmla="*/ 12206188 w 12211827"/>
              <a:gd name="connsiteY2" fmla="*/ 2861059 h 6861600"/>
              <a:gd name="connsiteX3" fmla="*/ 12196800 w 12211827"/>
              <a:gd name="connsiteY3" fmla="*/ 2876054 h 6861600"/>
              <a:gd name="connsiteX4" fmla="*/ 0 w 12211827"/>
              <a:gd name="connsiteY4" fmla="*/ 0 h 6861600"/>
              <a:gd name="connsiteX5" fmla="*/ 4561858 w 12211827"/>
              <a:gd name="connsiteY5" fmla="*/ 0 h 6861600"/>
              <a:gd name="connsiteX6" fmla="*/ 5342490 w 12211827"/>
              <a:gd name="connsiteY6" fmla="*/ 1248953 h 6861600"/>
              <a:gd name="connsiteX7" fmla="*/ 4631363 w 12211827"/>
              <a:gd name="connsiteY7" fmla="*/ 1249629 h 6861600"/>
              <a:gd name="connsiteX8" fmla="*/ 7965717 w 12211827"/>
              <a:gd name="connsiteY8" fmla="*/ 6586007 h 6861600"/>
              <a:gd name="connsiteX9" fmla="*/ 8925461 w 12211827"/>
              <a:gd name="connsiteY9" fmla="*/ 5044638 h 6861600"/>
              <a:gd name="connsiteX10" fmla="*/ 9503461 w 12211827"/>
              <a:gd name="connsiteY10" fmla="*/ 5970780 h 6861600"/>
              <a:gd name="connsiteX11" fmla="*/ 10337601 w 12211827"/>
              <a:gd name="connsiteY11" fmla="*/ 4619560 h 6861600"/>
              <a:gd name="connsiteX12" fmla="*/ 11103242 w 12211827"/>
              <a:gd name="connsiteY12" fmla="*/ 4622713 h 6861600"/>
              <a:gd name="connsiteX13" fmla="*/ 12196800 w 12211827"/>
              <a:gd name="connsiteY13" fmla="*/ 2876054 h 6861600"/>
              <a:gd name="connsiteX14" fmla="*/ 12196800 w 12211827"/>
              <a:gd name="connsiteY14" fmla="*/ 6861600 h 6861600"/>
              <a:gd name="connsiteX15" fmla="*/ 0 w 12211827"/>
              <a:gd name="connsiteY15" fmla="*/ 6861600 h 686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211827" h="6861600">
                <a:moveTo>
                  <a:pt x="12196800" y="0"/>
                </a:moveTo>
                <a:lnTo>
                  <a:pt x="12211827" y="0"/>
                </a:lnTo>
                <a:cubicBezTo>
                  <a:pt x="12209947" y="959548"/>
                  <a:pt x="12208068" y="1901511"/>
                  <a:pt x="12206188" y="2861059"/>
                </a:cubicBezTo>
                <a:lnTo>
                  <a:pt x="12196800" y="2876054"/>
                </a:lnTo>
                <a:close/>
                <a:moveTo>
                  <a:pt x="0" y="0"/>
                </a:moveTo>
                <a:lnTo>
                  <a:pt x="4561858" y="0"/>
                </a:lnTo>
                <a:lnTo>
                  <a:pt x="5342490" y="1248953"/>
                </a:lnTo>
                <a:lnTo>
                  <a:pt x="4631363" y="1249629"/>
                </a:lnTo>
                <a:lnTo>
                  <a:pt x="7965717" y="6586007"/>
                </a:lnTo>
                <a:lnTo>
                  <a:pt x="8925461" y="5044638"/>
                </a:lnTo>
                <a:lnTo>
                  <a:pt x="9503461" y="5970780"/>
                </a:lnTo>
                <a:lnTo>
                  <a:pt x="10337601" y="4619560"/>
                </a:lnTo>
                <a:lnTo>
                  <a:pt x="11103242" y="4622713"/>
                </a:lnTo>
                <a:lnTo>
                  <a:pt x="12196800" y="2876054"/>
                </a:lnTo>
                <a:lnTo>
                  <a:pt x="12196800" y="6861600"/>
                </a:lnTo>
                <a:lnTo>
                  <a:pt x="0" y="68616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de-DE"/>
              <a:t>Bild durch Klicken auf Symbol hinzufügen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D0BAE01F-AC32-F336-9394-9543406532E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2279576" y="0"/>
            <a:ext cx="9912424" cy="6600021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7855CF3A-8745-495B-9FFE-CE92A5F4D68B}"/>
              </a:ext>
            </a:extLst>
          </p:cNvPr>
          <p:cNvSpPr>
            <a:spLocks noGrp="1"/>
          </p:cNvSpPr>
          <p:nvPr>
            <p:ph type="ctrTitle"/>
          </p:nvPr>
        </p:nvSpPr>
        <p:spPr bwMode="black">
          <a:xfrm>
            <a:off x="6119376" y="476672"/>
            <a:ext cx="5617200" cy="1944000"/>
          </a:xfrm>
        </p:spPr>
        <p:txBody>
          <a:bodyPr lIns="0" anchor="t" anchorCtr="0"/>
          <a:lstStyle>
            <a:lvl1pPr algn="r"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931B0A1-8DE4-4F87-9296-AE72B35697A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7487528" y="2600672"/>
            <a:ext cx="4249048" cy="504000"/>
          </a:xfrm>
        </p:spPr>
        <p:txBody>
          <a:bodyPr lIns="0">
            <a:noAutofit/>
          </a:bodyPr>
          <a:lstStyle>
            <a:lvl1pPr marL="0" indent="0" algn="r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9pPr>
          </a:lstStyle>
          <a:p>
            <a:r>
              <a:rPr lang="de-DE"/>
              <a:t>Untertitel | Autor*in | Ort | Datum</a:t>
            </a:r>
          </a:p>
        </p:txBody>
      </p:sp>
      <p:sp>
        <p:nvSpPr>
          <p:cNvPr id="4" name="Bildplatzhalter 8">
            <a:extLst>
              <a:ext uri="{FF2B5EF4-FFF2-40B4-BE49-F238E27FC236}">
                <a16:creationId xmlns:a16="http://schemas.microsoft.com/office/drawing/2014/main" id="{3A6535C8-EF8A-3132-B5F3-4E786EEC2FF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85999" y="5833800"/>
            <a:ext cx="3585600" cy="4680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22869348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Titel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71D59859-A01C-339B-9E9D-2BDCD2DA84B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49912" b="50652"/>
          <a:stretch/>
        </p:blipFill>
        <p:spPr>
          <a:xfrm>
            <a:off x="-3201" y="5469789"/>
            <a:ext cx="4759581" cy="1388212"/>
          </a:xfrm>
          <a:prstGeom prst="rect">
            <a:avLst/>
          </a:prstGeom>
        </p:spPr>
      </p:pic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D490A714-F82C-4544-9605-E188B85C25D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black">
          <a:xfrm>
            <a:off x="-3549" y="0"/>
            <a:ext cx="12212175" cy="6861600"/>
          </a:xfrm>
          <a:custGeom>
            <a:avLst/>
            <a:gdLst>
              <a:gd name="connsiteX0" fmla="*/ 12196800 w 12211827"/>
              <a:gd name="connsiteY0" fmla="*/ 0 h 6861600"/>
              <a:gd name="connsiteX1" fmla="*/ 12211827 w 12211827"/>
              <a:gd name="connsiteY1" fmla="*/ 0 h 6861600"/>
              <a:gd name="connsiteX2" fmla="*/ 12206188 w 12211827"/>
              <a:gd name="connsiteY2" fmla="*/ 2861059 h 6861600"/>
              <a:gd name="connsiteX3" fmla="*/ 12196800 w 12211827"/>
              <a:gd name="connsiteY3" fmla="*/ 2876054 h 6861600"/>
              <a:gd name="connsiteX4" fmla="*/ 0 w 12211827"/>
              <a:gd name="connsiteY4" fmla="*/ 0 h 6861600"/>
              <a:gd name="connsiteX5" fmla="*/ 4561858 w 12211827"/>
              <a:gd name="connsiteY5" fmla="*/ 0 h 6861600"/>
              <a:gd name="connsiteX6" fmla="*/ 5342490 w 12211827"/>
              <a:gd name="connsiteY6" fmla="*/ 1248953 h 6861600"/>
              <a:gd name="connsiteX7" fmla="*/ 4631363 w 12211827"/>
              <a:gd name="connsiteY7" fmla="*/ 1249629 h 6861600"/>
              <a:gd name="connsiteX8" fmla="*/ 7965717 w 12211827"/>
              <a:gd name="connsiteY8" fmla="*/ 6586007 h 6861600"/>
              <a:gd name="connsiteX9" fmla="*/ 8925461 w 12211827"/>
              <a:gd name="connsiteY9" fmla="*/ 5044638 h 6861600"/>
              <a:gd name="connsiteX10" fmla="*/ 9503461 w 12211827"/>
              <a:gd name="connsiteY10" fmla="*/ 5970780 h 6861600"/>
              <a:gd name="connsiteX11" fmla="*/ 10337601 w 12211827"/>
              <a:gd name="connsiteY11" fmla="*/ 4619560 h 6861600"/>
              <a:gd name="connsiteX12" fmla="*/ 11103242 w 12211827"/>
              <a:gd name="connsiteY12" fmla="*/ 4622713 h 6861600"/>
              <a:gd name="connsiteX13" fmla="*/ 12196800 w 12211827"/>
              <a:gd name="connsiteY13" fmla="*/ 2876054 h 6861600"/>
              <a:gd name="connsiteX14" fmla="*/ 12196800 w 12211827"/>
              <a:gd name="connsiteY14" fmla="*/ 6861600 h 6861600"/>
              <a:gd name="connsiteX15" fmla="*/ 0 w 12211827"/>
              <a:gd name="connsiteY15" fmla="*/ 6861600 h 6861600"/>
              <a:gd name="connsiteX0" fmla="*/ 12212388 w 12227415"/>
              <a:gd name="connsiteY0" fmla="*/ 0 h 6861600"/>
              <a:gd name="connsiteX1" fmla="*/ 12227415 w 12227415"/>
              <a:gd name="connsiteY1" fmla="*/ 0 h 6861600"/>
              <a:gd name="connsiteX2" fmla="*/ 12221776 w 12227415"/>
              <a:gd name="connsiteY2" fmla="*/ 2861059 h 6861600"/>
              <a:gd name="connsiteX3" fmla="*/ 12212388 w 12227415"/>
              <a:gd name="connsiteY3" fmla="*/ 2876054 h 6861600"/>
              <a:gd name="connsiteX4" fmla="*/ 12212388 w 12227415"/>
              <a:gd name="connsiteY4" fmla="*/ 0 h 6861600"/>
              <a:gd name="connsiteX5" fmla="*/ 15588 w 12227415"/>
              <a:gd name="connsiteY5" fmla="*/ 0 h 6861600"/>
              <a:gd name="connsiteX6" fmla="*/ 4577446 w 12227415"/>
              <a:gd name="connsiteY6" fmla="*/ 0 h 6861600"/>
              <a:gd name="connsiteX7" fmla="*/ 5358078 w 12227415"/>
              <a:gd name="connsiteY7" fmla="*/ 1248953 h 6861600"/>
              <a:gd name="connsiteX8" fmla="*/ 4646951 w 12227415"/>
              <a:gd name="connsiteY8" fmla="*/ 1249629 h 6861600"/>
              <a:gd name="connsiteX9" fmla="*/ 7981305 w 12227415"/>
              <a:gd name="connsiteY9" fmla="*/ 6586007 h 6861600"/>
              <a:gd name="connsiteX10" fmla="*/ 8941049 w 12227415"/>
              <a:gd name="connsiteY10" fmla="*/ 5044638 h 6861600"/>
              <a:gd name="connsiteX11" fmla="*/ 9519049 w 12227415"/>
              <a:gd name="connsiteY11" fmla="*/ 5970780 h 6861600"/>
              <a:gd name="connsiteX12" fmla="*/ 10353189 w 12227415"/>
              <a:gd name="connsiteY12" fmla="*/ 4619560 h 6861600"/>
              <a:gd name="connsiteX13" fmla="*/ 11118830 w 12227415"/>
              <a:gd name="connsiteY13" fmla="*/ 4622713 h 6861600"/>
              <a:gd name="connsiteX14" fmla="*/ 12212388 w 12227415"/>
              <a:gd name="connsiteY14" fmla="*/ 2876054 h 6861600"/>
              <a:gd name="connsiteX15" fmla="*/ 12212388 w 12227415"/>
              <a:gd name="connsiteY15" fmla="*/ 6861600 h 6861600"/>
              <a:gd name="connsiteX16" fmla="*/ 15588 w 12227415"/>
              <a:gd name="connsiteY16" fmla="*/ 6861600 h 6861600"/>
              <a:gd name="connsiteX17" fmla="*/ 0 w 12227415"/>
              <a:gd name="connsiteY17" fmla="*/ 5473874 h 6861600"/>
              <a:gd name="connsiteX18" fmla="*/ 15588 w 12227415"/>
              <a:gd name="connsiteY18" fmla="*/ 0 h 6861600"/>
              <a:gd name="connsiteX0" fmla="*/ 12212388 w 12227415"/>
              <a:gd name="connsiteY0" fmla="*/ 0 h 6861600"/>
              <a:gd name="connsiteX1" fmla="*/ 12227415 w 12227415"/>
              <a:gd name="connsiteY1" fmla="*/ 0 h 6861600"/>
              <a:gd name="connsiteX2" fmla="*/ 12221776 w 12227415"/>
              <a:gd name="connsiteY2" fmla="*/ 2861059 h 6861600"/>
              <a:gd name="connsiteX3" fmla="*/ 12212388 w 12227415"/>
              <a:gd name="connsiteY3" fmla="*/ 2876054 h 6861600"/>
              <a:gd name="connsiteX4" fmla="*/ 12212388 w 12227415"/>
              <a:gd name="connsiteY4" fmla="*/ 0 h 6861600"/>
              <a:gd name="connsiteX5" fmla="*/ 15588 w 12227415"/>
              <a:gd name="connsiteY5" fmla="*/ 0 h 6861600"/>
              <a:gd name="connsiteX6" fmla="*/ 4577446 w 12227415"/>
              <a:gd name="connsiteY6" fmla="*/ 0 h 6861600"/>
              <a:gd name="connsiteX7" fmla="*/ 5358078 w 12227415"/>
              <a:gd name="connsiteY7" fmla="*/ 1248953 h 6861600"/>
              <a:gd name="connsiteX8" fmla="*/ 4646951 w 12227415"/>
              <a:gd name="connsiteY8" fmla="*/ 1249629 h 6861600"/>
              <a:gd name="connsiteX9" fmla="*/ 7981305 w 12227415"/>
              <a:gd name="connsiteY9" fmla="*/ 6586007 h 6861600"/>
              <a:gd name="connsiteX10" fmla="*/ 8941049 w 12227415"/>
              <a:gd name="connsiteY10" fmla="*/ 5044638 h 6861600"/>
              <a:gd name="connsiteX11" fmla="*/ 9519049 w 12227415"/>
              <a:gd name="connsiteY11" fmla="*/ 5970780 h 6861600"/>
              <a:gd name="connsiteX12" fmla="*/ 10353189 w 12227415"/>
              <a:gd name="connsiteY12" fmla="*/ 4619560 h 6861600"/>
              <a:gd name="connsiteX13" fmla="*/ 11118830 w 12227415"/>
              <a:gd name="connsiteY13" fmla="*/ 4622713 h 6861600"/>
              <a:gd name="connsiteX14" fmla="*/ 12212388 w 12227415"/>
              <a:gd name="connsiteY14" fmla="*/ 2876054 h 6861600"/>
              <a:gd name="connsiteX15" fmla="*/ 12212388 w 12227415"/>
              <a:gd name="connsiteY15" fmla="*/ 6861600 h 6861600"/>
              <a:gd name="connsiteX16" fmla="*/ 4747364 w 12227415"/>
              <a:gd name="connsiteY16" fmla="*/ 6858000 h 6861600"/>
              <a:gd name="connsiteX17" fmla="*/ 15588 w 12227415"/>
              <a:gd name="connsiteY17" fmla="*/ 6861600 h 6861600"/>
              <a:gd name="connsiteX18" fmla="*/ 0 w 12227415"/>
              <a:gd name="connsiteY18" fmla="*/ 5473874 h 6861600"/>
              <a:gd name="connsiteX19" fmla="*/ 15588 w 12227415"/>
              <a:gd name="connsiteY19" fmla="*/ 0 h 6861600"/>
              <a:gd name="connsiteX0" fmla="*/ 12212388 w 12227415"/>
              <a:gd name="connsiteY0" fmla="*/ 0 h 6861600"/>
              <a:gd name="connsiteX1" fmla="*/ 12227415 w 12227415"/>
              <a:gd name="connsiteY1" fmla="*/ 0 h 6861600"/>
              <a:gd name="connsiteX2" fmla="*/ 12221776 w 12227415"/>
              <a:gd name="connsiteY2" fmla="*/ 2861059 h 6861600"/>
              <a:gd name="connsiteX3" fmla="*/ 12212388 w 12227415"/>
              <a:gd name="connsiteY3" fmla="*/ 2876054 h 6861600"/>
              <a:gd name="connsiteX4" fmla="*/ 12212388 w 12227415"/>
              <a:gd name="connsiteY4" fmla="*/ 0 h 6861600"/>
              <a:gd name="connsiteX5" fmla="*/ 15588 w 12227415"/>
              <a:gd name="connsiteY5" fmla="*/ 0 h 6861600"/>
              <a:gd name="connsiteX6" fmla="*/ 4577446 w 12227415"/>
              <a:gd name="connsiteY6" fmla="*/ 0 h 6861600"/>
              <a:gd name="connsiteX7" fmla="*/ 5358078 w 12227415"/>
              <a:gd name="connsiteY7" fmla="*/ 1248953 h 6861600"/>
              <a:gd name="connsiteX8" fmla="*/ 4646951 w 12227415"/>
              <a:gd name="connsiteY8" fmla="*/ 1249629 h 6861600"/>
              <a:gd name="connsiteX9" fmla="*/ 7981305 w 12227415"/>
              <a:gd name="connsiteY9" fmla="*/ 6586007 h 6861600"/>
              <a:gd name="connsiteX10" fmla="*/ 8941049 w 12227415"/>
              <a:gd name="connsiteY10" fmla="*/ 5044638 h 6861600"/>
              <a:gd name="connsiteX11" fmla="*/ 9519049 w 12227415"/>
              <a:gd name="connsiteY11" fmla="*/ 5970780 h 6861600"/>
              <a:gd name="connsiteX12" fmla="*/ 10353189 w 12227415"/>
              <a:gd name="connsiteY12" fmla="*/ 4619560 h 6861600"/>
              <a:gd name="connsiteX13" fmla="*/ 11118830 w 12227415"/>
              <a:gd name="connsiteY13" fmla="*/ 4622713 h 6861600"/>
              <a:gd name="connsiteX14" fmla="*/ 12212388 w 12227415"/>
              <a:gd name="connsiteY14" fmla="*/ 2876054 h 6861600"/>
              <a:gd name="connsiteX15" fmla="*/ 12212388 w 12227415"/>
              <a:gd name="connsiteY15" fmla="*/ 6861600 h 6861600"/>
              <a:gd name="connsiteX16" fmla="*/ 4766414 w 12227415"/>
              <a:gd name="connsiteY16" fmla="*/ 6859905 h 6861600"/>
              <a:gd name="connsiteX17" fmla="*/ 15588 w 12227415"/>
              <a:gd name="connsiteY17" fmla="*/ 6861600 h 6861600"/>
              <a:gd name="connsiteX18" fmla="*/ 0 w 12227415"/>
              <a:gd name="connsiteY18" fmla="*/ 5473874 h 6861600"/>
              <a:gd name="connsiteX19" fmla="*/ 15588 w 12227415"/>
              <a:gd name="connsiteY19" fmla="*/ 0 h 6861600"/>
              <a:gd name="connsiteX0" fmla="*/ 12197148 w 12212175"/>
              <a:gd name="connsiteY0" fmla="*/ 0 h 6861600"/>
              <a:gd name="connsiteX1" fmla="*/ 12212175 w 12212175"/>
              <a:gd name="connsiteY1" fmla="*/ 0 h 6861600"/>
              <a:gd name="connsiteX2" fmla="*/ 12206536 w 12212175"/>
              <a:gd name="connsiteY2" fmla="*/ 2861059 h 6861600"/>
              <a:gd name="connsiteX3" fmla="*/ 12197148 w 12212175"/>
              <a:gd name="connsiteY3" fmla="*/ 2876054 h 6861600"/>
              <a:gd name="connsiteX4" fmla="*/ 12197148 w 12212175"/>
              <a:gd name="connsiteY4" fmla="*/ 0 h 6861600"/>
              <a:gd name="connsiteX5" fmla="*/ 348 w 12212175"/>
              <a:gd name="connsiteY5" fmla="*/ 0 h 6861600"/>
              <a:gd name="connsiteX6" fmla="*/ 4562206 w 12212175"/>
              <a:gd name="connsiteY6" fmla="*/ 0 h 6861600"/>
              <a:gd name="connsiteX7" fmla="*/ 5342838 w 12212175"/>
              <a:gd name="connsiteY7" fmla="*/ 1248953 h 6861600"/>
              <a:gd name="connsiteX8" fmla="*/ 4631711 w 12212175"/>
              <a:gd name="connsiteY8" fmla="*/ 1249629 h 6861600"/>
              <a:gd name="connsiteX9" fmla="*/ 7966065 w 12212175"/>
              <a:gd name="connsiteY9" fmla="*/ 6586007 h 6861600"/>
              <a:gd name="connsiteX10" fmla="*/ 8925809 w 12212175"/>
              <a:gd name="connsiteY10" fmla="*/ 5044638 h 6861600"/>
              <a:gd name="connsiteX11" fmla="*/ 9503809 w 12212175"/>
              <a:gd name="connsiteY11" fmla="*/ 5970780 h 6861600"/>
              <a:gd name="connsiteX12" fmla="*/ 10337949 w 12212175"/>
              <a:gd name="connsiteY12" fmla="*/ 4619560 h 6861600"/>
              <a:gd name="connsiteX13" fmla="*/ 11103590 w 12212175"/>
              <a:gd name="connsiteY13" fmla="*/ 4622713 h 6861600"/>
              <a:gd name="connsiteX14" fmla="*/ 12197148 w 12212175"/>
              <a:gd name="connsiteY14" fmla="*/ 2876054 h 6861600"/>
              <a:gd name="connsiteX15" fmla="*/ 12197148 w 12212175"/>
              <a:gd name="connsiteY15" fmla="*/ 6861600 h 6861600"/>
              <a:gd name="connsiteX16" fmla="*/ 4751174 w 12212175"/>
              <a:gd name="connsiteY16" fmla="*/ 6859905 h 6861600"/>
              <a:gd name="connsiteX17" fmla="*/ 348 w 12212175"/>
              <a:gd name="connsiteY17" fmla="*/ 6861600 h 6861600"/>
              <a:gd name="connsiteX18" fmla="*/ 0 w 12212175"/>
              <a:gd name="connsiteY18" fmla="*/ 5481494 h 6861600"/>
              <a:gd name="connsiteX19" fmla="*/ 348 w 12212175"/>
              <a:gd name="connsiteY19" fmla="*/ 0 h 6861600"/>
              <a:gd name="connsiteX0" fmla="*/ 12197148 w 12212175"/>
              <a:gd name="connsiteY0" fmla="*/ 0 h 6861600"/>
              <a:gd name="connsiteX1" fmla="*/ 12212175 w 12212175"/>
              <a:gd name="connsiteY1" fmla="*/ 0 h 6861600"/>
              <a:gd name="connsiteX2" fmla="*/ 12206536 w 12212175"/>
              <a:gd name="connsiteY2" fmla="*/ 2861059 h 6861600"/>
              <a:gd name="connsiteX3" fmla="*/ 12197148 w 12212175"/>
              <a:gd name="connsiteY3" fmla="*/ 2876054 h 6861600"/>
              <a:gd name="connsiteX4" fmla="*/ 12197148 w 12212175"/>
              <a:gd name="connsiteY4" fmla="*/ 0 h 6861600"/>
              <a:gd name="connsiteX5" fmla="*/ 348 w 12212175"/>
              <a:gd name="connsiteY5" fmla="*/ 0 h 6861600"/>
              <a:gd name="connsiteX6" fmla="*/ 4562206 w 12212175"/>
              <a:gd name="connsiteY6" fmla="*/ 0 h 6861600"/>
              <a:gd name="connsiteX7" fmla="*/ 5342838 w 12212175"/>
              <a:gd name="connsiteY7" fmla="*/ 1248953 h 6861600"/>
              <a:gd name="connsiteX8" fmla="*/ 4631711 w 12212175"/>
              <a:gd name="connsiteY8" fmla="*/ 1249629 h 6861600"/>
              <a:gd name="connsiteX9" fmla="*/ 7966065 w 12212175"/>
              <a:gd name="connsiteY9" fmla="*/ 6586007 h 6861600"/>
              <a:gd name="connsiteX10" fmla="*/ 8925809 w 12212175"/>
              <a:gd name="connsiteY10" fmla="*/ 5044638 h 6861600"/>
              <a:gd name="connsiteX11" fmla="*/ 9503809 w 12212175"/>
              <a:gd name="connsiteY11" fmla="*/ 5970780 h 6861600"/>
              <a:gd name="connsiteX12" fmla="*/ 10337949 w 12212175"/>
              <a:gd name="connsiteY12" fmla="*/ 4619560 h 6861600"/>
              <a:gd name="connsiteX13" fmla="*/ 11103590 w 12212175"/>
              <a:gd name="connsiteY13" fmla="*/ 4622713 h 6861600"/>
              <a:gd name="connsiteX14" fmla="*/ 12197148 w 12212175"/>
              <a:gd name="connsiteY14" fmla="*/ 2876054 h 6861600"/>
              <a:gd name="connsiteX15" fmla="*/ 12197148 w 12212175"/>
              <a:gd name="connsiteY15" fmla="*/ 6861600 h 6861600"/>
              <a:gd name="connsiteX16" fmla="*/ 4751174 w 12212175"/>
              <a:gd name="connsiteY16" fmla="*/ 6859905 h 6861600"/>
              <a:gd name="connsiteX17" fmla="*/ 2000598 w 12212175"/>
              <a:gd name="connsiteY17" fmla="*/ 6126270 h 6861600"/>
              <a:gd name="connsiteX18" fmla="*/ 0 w 12212175"/>
              <a:gd name="connsiteY18" fmla="*/ 5481494 h 6861600"/>
              <a:gd name="connsiteX19" fmla="*/ 348 w 12212175"/>
              <a:gd name="connsiteY19" fmla="*/ 0 h 6861600"/>
              <a:gd name="connsiteX0" fmla="*/ 12197148 w 12212175"/>
              <a:gd name="connsiteY0" fmla="*/ 0 h 6861600"/>
              <a:gd name="connsiteX1" fmla="*/ 12212175 w 12212175"/>
              <a:gd name="connsiteY1" fmla="*/ 0 h 6861600"/>
              <a:gd name="connsiteX2" fmla="*/ 12206536 w 12212175"/>
              <a:gd name="connsiteY2" fmla="*/ 2861059 h 6861600"/>
              <a:gd name="connsiteX3" fmla="*/ 12197148 w 12212175"/>
              <a:gd name="connsiteY3" fmla="*/ 2876054 h 6861600"/>
              <a:gd name="connsiteX4" fmla="*/ 12197148 w 12212175"/>
              <a:gd name="connsiteY4" fmla="*/ 0 h 6861600"/>
              <a:gd name="connsiteX5" fmla="*/ 348 w 12212175"/>
              <a:gd name="connsiteY5" fmla="*/ 0 h 6861600"/>
              <a:gd name="connsiteX6" fmla="*/ 4562206 w 12212175"/>
              <a:gd name="connsiteY6" fmla="*/ 0 h 6861600"/>
              <a:gd name="connsiteX7" fmla="*/ 5342838 w 12212175"/>
              <a:gd name="connsiteY7" fmla="*/ 1248953 h 6861600"/>
              <a:gd name="connsiteX8" fmla="*/ 4631711 w 12212175"/>
              <a:gd name="connsiteY8" fmla="*/ 1249629 h 6861600"/>
              <a:gd name="connsiteX9" fmla="*/ 7966065 w 12212175"/>
              <a:gd name="connsiteY9" fmla="*/ 6586007 h 6861600"/>
              <a:gd name="connsiteX10" fmla="*/ 8925809 w 12212175"/>
              <a:gd name="connsiteY10" fmla="*/ 5044638 h 6861600"/>
              <a:gd name="connsiteX11" fmla="*/ 9503809 w 12212175"/>
              <a:gd name="connsiteY11" fmla="*/ 5970780 h 6861600"/>
              <a:gd name="connsiteX12" fmla="*/ 10337949 w 12212175"/>
              <a:gd name="connsiteY12" fmla="*/ 4619560 h 6861600"/>
              <a:gd name="connsiteX13" fmla="*/ 11103590 w 12212175"/>
              <a:gd name="connsiteY13" fmla="*/ 4622713 h 6861600"/>
              <a:gd name="connsiteX14" fmla="*/ 12197148 w 12212175"/>
              <a:gd name="connsiteY14" fmla="*/ 2876054 h 6861600"/>
              <a:gd name="connsiteX15" fmla="*/ 12197148 w 12212175"/>
              <a:gd name="connsiteY15" fmla="*/ 6861600 h 6861600"/>
              <a:gd name="connsiteX16" fmla="*/ 4751174 w 12212175"/>
              <a:gd name="connsiteY16" fmla="*/ 6859905 h 6861600"/>
              <a:gd name="connsiteX17" fmla="*/ 3892263 w 12212175"/>
              <a:gd name="connsiteY17" fmla="*/ 5474760 h 6861600"/>
              <a:gd name="connsiteX18" fmla="*/ 0 w 12212175"/>
              <a:gd name="connsiteY18" fmla="*/ 5481494 h 6861600"/>
              <a:gd name="connsiteX19" fmla="*/ 348 w 12212175"/>
              <a:gd name="connsiteY19" fmla="*/ 0 h 6861600"/>
              <a:gd name="connsiteX0" fmla="*/ 12197148 w 12212175"/>
              <a:gd name="connsiteY0" fmla="*/ 0 h 6861600"/>
              <a:gd name="connsiteX1" fmla="*/ 12212175 w 12212175"/>
              <a:gd name="connsiteY1" fmla="*/ 0 h 6861600"/>
              <a:gd name="connsiteX2" fmla="*/ 12206536 w 12212175"/>
              <a:gd name="connsiteY2" fmla="*/ 2861059 h 6861600"/>
              <a:gd name="connsiteX3" fmla="*/ 12197148 w 12212175"/>
              <a:gd name="connsiteY3" fmla="*/ 2876054 h 6861600"/>
              <a:gd name="connsiteX4" fmla="*/ 12197148 w 12212175"/>
              <a:gd name="connsiteY4" fmla="*/ 0 h 6861600"/>
              <a:gd name="connsiteX5" fmla="*/ 348 w 12212175"/>
              <a:gd name="connsiteY5" fmla="*/ 0 h 6861600"/>
              <a:gd name="connsiteX6" fmla="*/ 4562206 w 12212175"/>
              <a:gd name="connsiteY6" fmla="*/ 0 h 6861600"/>
              <a:gd name="connsiteX7" fmla="*/ 5342838 w 12212175"/>
              <a:gd name="connsiteY7" fmla="*/ 1248953 h 6861600"/>
              <a:gd name="connsiteX8" fmla="*/ 4631711 w 12212175"/>
              <a:gd name="connsiteY8" fmla="*/ 1249629 h 6861600"/>
              <a:gd name="connsiteX9" fmla="*/ 7966065 w 12212175"/>
              <a:gd name="connsiteY9" fmla="*/ 6586007 h 6861600"/>
              <a:gd name="connsiteX10" fmla="*/ 8925809 w 12212175"/>
              <a:gd name="connsiteY10" fmla="*/ 5044638 h 6861600"/>
              <a:gd name="connsiteX11" fmla="*/ 9503809 w 12212175"/>
              <a:gd name="connsiteY11" fmla="*/ 5970780 h 6861600"/>
              <a:gd name="connsiteX12" fmla="*/ 10337949 w 12212175"/>
              <a:gd name="connsiteY12" fmla="*/ 4619560 h 6861600"/>
              <a:gd name="connsiteX13" fmla="*/ 11103590 w 12212175"/>
              <a:gd name="connsiteY13" fmla="*/ 4622713 h 6861600"/>
              <a:gd name="connsiteX14" fmla="*/ 12197148 w 12212175"/>
              <a:gd name="connsiteY14" fmla="*/ 2876054 h 6861600"/>
              <a:gd name="connsiteX15" fmla="*/ 12197148 w 12212175"/>
              <a:gd name="connsiteY15" fmla="*/ 6861600 h 6861600"/>
              <a:gd name="connsiteX16" fmla="*/ 4751174 w 12212175"/>
              <a:gd name="connsiteY16" fmla="*/ 6859905 h 6861600"/>
              <a:gd name="connsiteX17" fmla="*/ 3892263 w 12212175"/>
              <a:gd name="connsiteY17" fmla="*/ 5474760 h 6861600"/>
              <a:gd name="connsiteX18" fmla="*/ 0 w 12212175"/>
              <a:gd name="connsiteY18" fmla="*/ 5475779 h 6861600"/>
              <a:gd name="connsiteX19" fmla="*/ 348 w 12212175"/>
              <a:gd name="connsiteY19" fmla="*/ 0 h 6861600"/>
              <a:gd name="connsiteX0" fmla="*/ 12197148 w 12212175"/>
              <a:gd name="connsiteY0" fmla="*/ 0 h 6861600"/>
              <a:gd name="connsiteX1" fmla="*/ 12212175 w 12212175"/>
              <a:gd name="connsiteY1" fmla="*/ 0 h 6861600"/>
              <a:gd name="connsiteX2" fmla="*/ 12206536 w 12212175"/>
              <a:gd name="connsiteY2" fmla="*/ 2861059 h 6861600"/>
              <a:gd name="connsiteX3" fmla="*/ 12197148 w 12212175"/>
              <a:gd name="connsiteY3" fmla="*/ 2876054 h 6861600"/>
              <a:gd name="connsiteX4" fmla="*/ 12197148 w 12212175"/>
              <a:gd name="connsiteY4" fmla="*/ 0 h 6861600"/>
              <a:gd name="connsiteX5" fmla="*/ 348 w 12212175"/>
              <a:gd name="connsiteY5" fmla="*/ 0 h 6861600"/>
              <a:gd name="connsiteX6" fmla="*/ 4562206 w 12212175"/>
              <a:gd name="connsiteY6" fmla="*/ 0 h 6861600"/>
              <a:gd name="connsiteX7" fmla="*/ 5342838 w 12212175"/>
              <a:gd name="connsiteY7" fmla="*/ 1248953 h 6861600"/>
              <a:gd name="connsiteX8" fmla="*/ 4631711 w 12212175"/>
              <a:gd name="connsiteY8" fmla="*/ 1249629 h 6861600"/>
              <a:gd name="connsiteX9" fmla="*/ 7966065 w 12212175"/>
              <a:gd name="connsiteY9" fmla="*/ 6586007 h 6861600"/>
              <a:gd name="connsiteX10" fmla="*/ 8925809 w 12212175"/>
              <a:gd name="connsiteY10" fmla="*/ 5044638 h 6861600"/>
              <a:gd name="connsiteX11" fmla="*/ 9503809 w 12212175"/>
              <a:gd name="connsiteY11" fmla="*/ 5970780 h 6861600"/>
              <a:gd name="connsiteX12" fmla="*/ 10337949 w 12212175"/>
              <a:gd name="connsiteY12" fmla="*/ 4619560 h 6861600"/>
              <a:gd name="connsiteX13" fmla="*/ 11103590 w 12212175"/>
              <a:gd name="connsiteY13" fmla="*/ 4622713 h 6861600"/>
              <a:gd name="connsiteX14" fmla="*/ 12197148 w 12212175"/>
              <a:gd name="connsiteY14" fmla="*/ 2876054 h 6861600"/>
              <a:gd name="connsiteX15" fmla="*/ 12197148 w 12212175"/>
              <a:gd name="connsiteY15" fmla="*/ 6861600 h 6861600"/>
              <a:gd name="connsiteX16" fmla="*/ 4751174 w 12212175"/>
              <a:gd name="connsiteY16" fmla="*/ 6859905 h 6861600"/>
              <a:gd name="connsiteX17" fmla="*/ 3894168 w 12212175"/>
              <a:gd name="connsiteY17" fmla="*/ 5474760 h 6861600"/>
              <a:gd name="connsiteX18" fmla="*/ 0 w 12212175"/>
              <a:gd name="connsiteY18" fmla="*/ 5475779 h 6861600"/>
              <a:gd name="connsiteX19" fmla="*/ 348 w 12212175"/>
              <a:gd name="connsiteY19" fmla="*/ 0 h 686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212175" h="6861600">
                <a:moveTo>
                  <a:pt x="12197148" y="0"/>
                </a:moveTo>
                <a:lnTo>
                  <a:pt x="12212175" y="0"/>
                </a:lnTo>
                <a:cubicBezTo>
                  <a:pt x="12210295" y="959548"/>
                  <a:pt x="12208416" y="1901511"/>
                  <a:pt x="12206536" y="2861059"/>
                </a:cubicBezTo>
                <a:lnTo>
                  <a:pt x="12197148" y="2876054"/>
                </a:lnTo>
                <a:lnTo>
                  <a:pt x="12197148" y="0"/>
                </a:lnTo>
                <a:close/>
                <a:moveTo>
                  <a:pt x="348" y="0"/>
                </a:moveTo>
                <a:lnTo>
                  <a:pt x="4562206" y="0"/>
                </a:lnTo>
                <a:lnTo>
                  <a:pt x="5342838" y="1248953"/>
                </a:lnTo>
                <a:lnTo>
                  <a:pt x="4631711" y="1249629"/>
                </a:lnTo>
                <a:lnTo>
                  <a:pt x="7966065" y="6586007"/>
                </a:lnTo>
                <a:lnTo>
                  <a:pt x="8925809" y="5044638"/>
                </a:lnTo>
                <a:lnTo>
                  <a:pt x="9503809" y="5970780"/>
                </a:lnTo>
                <a:lnTo>
                  <a:pt x="10337949" y="4619560"/>
                </a:lnTo>
                <a:lnTo>
                  <a:pt x="11103590" y="4622713"/>
                </a:lnTo>
                <a:lnTo>
                  <a:pt x="12197148" y="2876054"/>
                </a:lnTo>
                <a:lnTo>
                  <a:pt x="12197148" y="6861600"/>
                </a:lnTo>
                <a:lnTo>
                  <a:pt x="4751174" y="6859905"/>
                </a:lnTo>
                <a:lnTo>
                  <a:pt x="3894168" y="5474760"/>
                </a:lnTo>
                <a:lnTo>
                  <a:pt x="0" y="5475779"/>
                </a:lnTo>
                <a:lnTo>
                  <a:pt x="348" y="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de-DE"/>
              <a:t>Bild durch Klicken auf Symbol hinzufügen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D0BAE01F-AC32-F336-9394-9543406532E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2288182" y="0"/>
            <a:ext cx="9912424" cy="6600021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7855CF3A-8745-495B-9FFE-CE92A5F4D68B}"/>
              </a:ext>
            </a:extLst>
          </p:cNvPr>
          <p:cNvSpPr>
            <a:spLocks noGrp="1"/>
          </p:cNvSpPr>
          <p:nvPr>
            <p:ph type="ctrTitle"/>
          </p:nvPr>
        </p:nvSpPr>
        <p:spPr bwMode="black">
          <a:xfrm>
            <a:off x="6119376" y="476672"/>
            <a:ext cx="5617200" cy="1944000"/>
          </a:xfrm>
        </p:spPr>
        <p:txBody>
          <a:bodyPr lIns="0" anchor="t" anchorCtr="0"/>
          <a:lstStyle>
            <a:lvl1pPr algn="r"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931B0A1-8DE4-4F87-9296-AE72B35697A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7487528" y="2600672"/>
            <a:ext cx="4249048" cy="504000"/>
          </a:xfrm>
        </p:spPr>
        <p:txBody>
          <a:bodyPr lIns="0">
            <a:noAutofit/>
          </a:bodyPr>
          <a:lstStyle>
            <a:lvl1pPr marL="0" indent="0" algn="r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9pPr>
          </a:lstStyle>
          <a:p>
            <a:r>
              <a:rPr lang="de-DE"/>
              <a:t>Untertitel | Autor*in | Ort | Datum</a:t>
            </a:r>
          </a:p>
        </p:txBody>
      </p:sp>
      <p:sp>
        <p:nvSpPr>
          <p:cNvPr id="11" name="Bildplatzhalter 8">
            <a:extLst>
              <a:ext uri="{FF2B5EF4-FFF2-40B4-BE49-F238E27FC236}">
                <a16:creationId xmlns:a16="http://schemas.microsoft.com/office/drawing/2014/main" id="{0EBD637C-86B0-FCB7-C578-9F68D1ED4BC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85999" y="5833800"/>
            <a:ext cx="3585600" cy="468000"/>
          </a:xfrm>
          <a:blipFill>
            <a:blip r:embed="rId5"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133280958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Kapiteltrenner">
    <p:bg>
      <p:bgPr>
        <a:solidFill>
          <a:srgbClr val="CFD9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9DBA8C74-5545-613D-F8E7-35592E02B93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2666" t="22545" r="11673" b="13536"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solidFill>
            <a:srgbClr val="7ECBF5"/>
          </a:solidFill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1E4369FD-4569-413B-8637-ED89BF8BE4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79425" y="497706"/>
            <a:ext cx="6984575" cy="2448000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de-DE"/>
              <a:t>Eine </a:t>
            </a:r>
            <a:r>
              <a:rPr lang="de-DE" err="1"/>
              <a:t>Trennerseite</a:t>
            </a:r>
            <a:r>
              <a:rPr lang="de-DE"/>
              <a:t>, </a:t>
            </a:r>
            <a:br>
              <a:rPr lang="de-DE"/>
            </a:br>
            <a:r>
              <a:rPr lang="de-DE"/>
              <a:t>um die Kapitel </a:t>
            </a:r>
            <a:br>
              <a:rPr lang="de-DE"/>
            </a:br>
            <a:r>
              <a:rPr lang="de-DE"/>
              <a:t>zu unterscheiden</a:t>
            </a:r>
          </a:p>
        </p:txBody>
      </p:sp>
      <p:sp>
        <p:nvSpPr>
          <p:cNvPr id="27" name="Untertitel 2">
            <a:extLst>
              <a:ext uri="{FF2B5EF4-FFF2-40B4-BE49-F238E27FC236}">
                <a16:creationId xmlns:a16="http://schemas.microsoft.com/office/drawing/2014/main" id="{A4E67476-8A11-4E03-B57B-AF937AFD8E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79425" y="3113519"/>
            <a:ext cx="6984575" cy="504000"/>
          </a:xfrm>
        </p:spPr>
        <p:txBody>
          <a:bodyPr lIns="0" bIns="0" anchor="t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9pPr>
          </a:lstStyle>
          <a:p>
            <a:pPr marL="0" marR="0" lvl="4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70000"/>
              <a:buFont typeface="+mn-lt" panose="05020102010507070707" pitchFamily="18" charset="2"/>
              <a:buNone/>
              <a:tabLst/>
              <a:defRPr/>
            </a:pPr>
            <a:r>
              <a:rPr lang="de-DE"/>
              <a:t>Hier könnte eine kurze Kapitelbeschreibung stehen.</a:t>
            </a:r>
          </a:p>
        </p:txBody>
      </p:sp>
    </p:spTree>
    <p:extLst>
      <p:ext uri="{BB962C8B-B14F-4D97-AF65-F5344CB8AC3E}">
        <p14:creationId xmlns:p14="http://schemas.microsoft.com/office/powerpoint/2010/main" val="10045613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tags" Target="../tags/tag2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E12075CD-D509-D375-9FD5-B75CC20FFA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4"/>
            </p:custDataLst>
            <p:extLst>
              <p:ext uri="{D42A27DB-BD31-4B8C-83A1-F6EECF244321}">
                <p14:modId xmlns:p14="http://schemas.microsoft.com/office/powerpoint/2010/main" val="39502112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5" imgW="532" imgH="533" progId="TCLayout.ActiveDocument.1">
                  <p:embed/>
                </p:oleObj>
              </mc:Choice>
              <mc:Fallback>
                <p:oleObj name="think-cell Slide" r:id="rId65" imgW="532" imgH="53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12075CD-D509-D375-9FD5-B75CC20FFA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8152CBC3-B660-49EC-8CFF-BDC08B2D060E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478800" y="405000"/>
            <a:ext cx="11209946" cy="72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/>
              <a:t>Überschrift einzeilig </a:t>
            </a:r>
            <a:r>
              <a:rPr lang="de-DE" err="1"/>
              <a:t>40pt</a:t>
            </a:r>
            <a:r>
              <a:rPr lang="de-DE"/>
              <a:t> (zweizeilig </a:t>
            </a:r>
            <a:r>
              <a:rPr lang="de-DE" err="1"/>
              <a:t>24pt</a:t>
            </a:r>
            <a:r>
              <a:rPr lang="de-DE"/>
              <a:t>)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47DA143-B8D4-4CBA-A16E-07B0484BAAA6}"/>
              </a:ext>
            </a:extLst>
          </p:cNvPr>
          <p:cNvSpPr>
            <a:spLocks noGrp="1"/>
          </p:cNvSpPr>
          <p:nvPr>
            <p:ph type="body" idx="1"/>
          </p:nvPr>
        </p:nvSpPr>
        <p:spPr bwMode="black">
          <a:xfrm>
            <a:off x="478800" y="1484712"/>
            <a:ext cx="11067468" cy="47522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  <a:p>
            <a:pPr lvl="4"/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3E0E978-16D5-413F-A203-BAC957010EB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478800" y="6453000"/>
            <a:ext cx="9326146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 kern="900" baseline="0">
                <a:solidFill>
                  <a:schemeClr val="tx1"/>
                </a:solidFill>
              </a:defRPr>
            </a:lvl1pPr>
          </a:lstStyle>
          <a:p>
            <a:r>
              <a:rPr lang="de-DE"/>
              <a:t>T-Systems India - Digital Solutions 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290EB52-2700-4288-B91E-A90263E48C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11442000" y="6453000"/>
            <a:ext cx="252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A1A5E10D-79A5-49BA-9648-53481340C65F}" type="slidenum">
              <a:rPr lang="de-DE" smtClean="0"/>
              <a:pPr/>
              <a:t>‹#›</a:t>
            </a:fld>
            <a:endParaRPr lang="de-DE"/>
          </a:p>
        </p:txBody>
      </p:sp>
      <p:cxnSp>
        <p:nvCxnSpPr>
          <p:cNvPr id="29" name="Gerader Verbinder 28">
            <a:extLst>
              <a:ext uri="{FF2B5EF4-FFF2-40B4-BE49-F238E27FC236}">
                <a16:creationId xmlns:a16="http://schemas.microsoft.com/office/drawing/2014/main" id="{DA91C881-79AB-458F-954C-383AF8B01604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5952000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7C98D975-7445-4F99-9B52-E358E568C5A3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240000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DF551706-39BC-4EE7-A735-192BD09A0001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7824000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2A0A7869-3F34-4E75-A064-BE3F44A63406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8112000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A4177ED2-DC6D-4DA2-AF57-22AD5C7A4FCC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080000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4CAD1D89-EB95-4550-A35C-0A1D9DD17A31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368000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9E47EBE1-63C9-4FBE-B681-22B45511EEE3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3144000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3621EA9F-5C5D-4AF2-9740-37FE244799E2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3432000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D1EF1E0F-30B7-4B13-96AD-E88084E80D49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8760000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508FA7B9-8179-4FDE-890A-1A9E21FC445D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9048000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976682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1" r:id="rId1"/>
    <p:sldLayoutId id="2147483752" r:id="rId2"/>
    <p:sldLayoutId id="2147483753" r:id="rId3"/>
    <p:sldLayoutId id="2147483754" r:id="rId4"/>
    <p:sldLayoutId id="2147483755" r:id="rId5"/>
    <p:sldLayoutId id="2147483756" r:id="rId6"/>
    <p:sldLayoutId id="2147483757" r:id="rId7"/>
    <p:sldLayoutId id="2147483758" r:id="rId8"/>
    <p:sldLayoutId id="2147483759" r:id="rId9"/>
    <p:sldLayoutId id="2147483760" r:id="rId10"/>
    <p:sldLayoutId id="2147483761" r:id="rId11"/>
    <p:sldLayoutId id="2147483762" r:id="rId12"/>
    <p:sldLayoutId id="2147483763" r:id="rId13"/>
    <p:sldLayoutId id="2147483798" r:id="rId14"/>
    <p:sldLayoutId id="2147483764" r:id="rId15"/>
    <p:sldLayoutId id="2147483765" r:id="rId16"/>
    <p:sldLayoutId id="2147483766" r:id="rId17"/>
    <p:sldLayoutId id="2147483767" r:id="rId18"/>
    <p:sldLayoutId id="2147483768" r:id="rId19"/>
    <p:sldLayoutId id="2147483769" r:id="rId20"/>
    <p:sldLayoutId id="2147483770" r:id="rId21"/>
    <p:sldLayoutId id="2147483771" r:id="rId22"/>
    <p:sldLayoutId id="2147483799" r:id="rId23"/>
    <p:sldLayoutId id="2147483772" r:id="rId24"/>
    <p:sldLayoutId id="2147483773" r:id="rId25"/>
    <p:sldLayoutId id="2147483782" r:id="rId26"/>
    <p:sldLayoutId id="2147483783" r:id="rId27"/>
    <p:sldLayoutId id="2147483784" r:id="rId28"/>
    <p:sldLayoutId id="2147483785" r:id="rId29"/>
    <p:sldLayoutId id="2147483711" r:id="rId30"/>
    <p:sldLayoutId id="2147483712" r:id="rId31"/>
    <p:sldLayoutId id="2147483651" r:id="rId32"/>
    <p:sldLayoutId id="2147483720" r:id="rId33"/>
    <p:sldLayoutId id="2147483721" r:id="rId34"/>
    <p:sldLayoutId id="2147483657" r:id="rId35"/>
    <p:sldLayoutId id="2147483660" r:id="rId36"/>
    <p:sldLayoutId id="2147483664" r:id="rId37"/>
    <p:sldLayoutId id="2147483662" r:id="rId38"/>
    <p:sldLayoutId id="2147483715" r:id="rId39"/>
    <p:sldLayoutId id="2147483716" r:id="rId40"/>
    <p:sldLayoutId id="2147483670" r:id="rId41"/>
    <p:sldLayoutId id="2147483731" r:id="rId42"/>
    <p:sldLayoutId id="2147483732" r:id="rId43"/>
    <p:sldLayoutId id="2147483733" r:id="rId44"/>
    <p:sldLayoutId id="2147483665" r:id="rId45"/>
    <p:sldLayoutId id="2147483734" r:id="rId46"/>
    <p:sldLayoutId id="2147483735" r:id="rId47"/>
    <p:sldLayoutId id="2147483736" r:id="rId48"/>
    <p:sldLayoutId id="2147483737" r:id="rId49"/>
    <p:sldLayoutId id="2147483738" r:id="rId50"/>
    <p:sldLayoutId id="2147483742" r:id="rId51"/>
    <p:sldLayoutId id="2147483745" r:id="rId52"/>
    <p:sldLayoutId id="2147483743" r:id="rId53"/>
    <p:sldLayoutId id="2147483739" r:id="rId54"/>
    <p:sldLayoutId id="2147483746" r:id="rId55"/>
    <p:sldLayoutId id="2147483747" r:id="rId56"/>
    <p:sldLayoutId id="2147483748" r:id="rId57"/>
    <p:sldLayoutId id="2147483749" r:id="rId58"/>
    <p:sldLayoutId id="2147483786" r:id="rId59"/>
    <p:sldLayoutId id="2147483787" r:id="rId60"/>
    <p:sldLayoutId id="2147483788" r:id="rId61"/>
    <p:sldLayoutId id="2147483800" r:id="rId62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44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288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432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576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720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864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008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02">
          <p15:clr>
            <a:srgbClr val="F26B43"/>
          </p15:clr>
        </p15:guide>
        <p15:guide id="2" pos="7378">
          <p15:clr>
            <a:srgbClr val="F26B43"/>
          </p15:clr>
        </p15:guide>
        <p15:guide id="4" orient="horz" pos="4020">
          <p15:clr>
            <a:srgbClr val="F26B43"/>
          </p15:clr>
        </p15:guide>
        <p15:guide id="5" pos="3840">
          <p15:clr>
            <a:srgbClr val="F26B43"/>
          </p15:clr>
        </p15:guide>
        <p15:guide id="6" orient="horz" pos="935">
          <p15:clr>
            <a:srgbClr val="F26B43"/>
          </p15:clr>
        </p15:guide>
        <p15:guide id="7" orient="horz" pos="30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image" Target="../media/image18.png"/><Relationship Id="rId7" Type="http://schemas.openxmlformats.org/officeDocument/2006/relationships/image" Target="../media/image22.sv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slideLayout" Target="../slideLayouts/slideLayout62.xml"/><Relationship Id="rId1" Type="http://schemas.openxmlformats.org/officeDocument/2006/relationships/tags" Target="../tags/tag1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2.xml"/><Relationship Id="rId1" Type="http://schemas.openxmlformats.org/officeDocument/2006/relationships/tags" Target="../tags/tag1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6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6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2.xml"/><Relationship Id="rId1" Type="http://schemas.openxmlformats.org/officeDocument/2006/relationships/tags" Target="../tags/tag14.xml"/></Relationships>
</file>

<file path=ppt/slides/_rels/slide1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55.xml"/><Relationship Id="rId6" Type="http://schemas.microsoft.com/office/2007/relationships/hdphoto" Target="../media/hdphoto2.wdp"/><Relationship Id="rId5" Type="http://schemas.openxmlformats.org/officeDocument/2006/relationships/image" Target="../media/image30.png"/><Relationship Id="rId4" Type="http://schemas.openxmlformats.org/officeDocument/2006/relationships/image" Target="../media/image16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slideLayout" Target="../slideLayouts/slideLayout62.xml"/><Relationship Id="rId1" Type="http://schemas.openxmlformats.org/officeDocument/2006/relationships/tags" Target="../tags/tag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2.xml"/><Relationship Id="rId2" Type="http://schemas.openxmlformats.org/officeDocument/2006/relationships/tags" Target="../tags/tag6.xml"/><Relationship Id="rId1" Type="http://schemas.openxmlformats.org/officeDocument/2006/relationships/themeOverride" Target="../theme/themeOverride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2.xml"/><Relationship Id="rId1" Type="http://schemas.openxmlformats.org/officeDocument/2006/relationships/tags" Target="../tags/tag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2.xml"/><Relationship Id="rId1" Type="http://schemas.openxmlformats.org/officeDocument/2006/relationships/tags" Target="../tags/tag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2.xml"/><Relationship Id="rId1" Type="http://schemas.openxmlformats.org/officeDocument/2006/relationships/tags" Target="../tags/tag9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2.xml"/><Relationship Id="rId1" Type="http://schemas.openxmlformats.org/officeDocument/2006/relationships/tags" Target="../tags/tag1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slideLayout" Target="../slideLayouts/slideLayout62.xml"/><Relationship Id="rId1" Type="http://schemas.openxmlformats.org/officeDocument/2006/relationships/tags" Target="../tags/tag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ooter Placeholder 2">
            <a:extLst>
              <a:ext uri="{FF2B5EF4-FFF2-40B4-BE49-F238E27FC236}">
                <a16:creationId xmlns:a16="http://schemas.microsoft.com/office/drawing/2014/main" id="{6E1CC431-F5C0-21F0-5ACA-A46D05E081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9421" y="6466088"/>
            <a:ext cx="9326146" cy="324000"/>
          </a:xfrm>
        </p:spPr>
        <p:txBody>
          <a:bodyPr/>
          <a:lstStyle/>
          <a:p>
            <a:r>
              <a:rPr lang="de-DE"/>
              <a:t>T-Systems India - Digital Solutions 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655B3EE-B8EC-41B2-61C1-D426062F1E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1A5E10D-79A5-49BA-9648-53481340C65F}" type="slidenum">
              <a:rPr lang="en-US" smtClean="0"/>
              <a:pPr/>
              <a:t>1</a:t>
            </a:fld>
            <a:endParaRPr lang="en-US"/>
          </a:p>
        </p:txBody>
      </p:sp>
      <p:sp>
        <p:nvSpPr>
          <p:cNvPr id="3" name="Rechteck 4">
            <a:extLst>
              <a:ext uri="{FF2B5EF4-FFF2-40B4-BE49-F238E27FC236}">
                <a16:creationId xmlns:a16="http://schemas.microsoft.com/office/drawing/2014/main" id="{838821F1-6F19-4595-FB17-520C3119A7B4}"/>
              </a:ext>
            </a:extLst>
          </p:cNvPr>
          <p:cNvSpPr/>
          <p:nvPr/>
        </p:nvSpPr>
        <p:spPr>
          <a:xfrm>
            <a:off x="0" y="0"/>
            <a:ext cx="9156992" cy="6858000"/>
          </a:xfrm>
          <a:prstGeom prst="rect">
            <a:avLst/>
          </a:prstGeom>
          <a:solidFill>
            <a:schemeClr val="tx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/>
          </a:p>
        </p:txBody>
      </p:sp>
      <p:grpSp>
        <p:nvGrpSpPr>
          <p:cNvPr id="4" name="Gruppieren 15">
            <a:extLst>
              <a:ext uri="{FF2B5EF4-FFF2-40B4-BE49-F238E27FC236}">
                <a16:creationId xmlns:a16="http://schemas.microsoft.com/office/drawing/2014/main" id="{26F7C099-E0ED-2829-66F7-224911A1F91E}"/>
              </a:ext>
            </a:extLst>
          </p:cNvPr>
          <p:cNvGrpSpPr/>
          <p:nvPr/>
        </p:nvGrpSpPr>
        <p:grpSpPr>
          <a:xfrm>
            <a:off x="-292639" y="-910311"/>
            <a:ext cx="7330635" cy="3699499"/>
            <a:chOff x="-972337" y="-1113163"/>
            <a:chExt cx="7622898" cy="3699499"/>
          </a:xfrm>
        </p:grpSpPr>
        <p:pic>
          <p:nvPicPr>
            <p:cNvPr id="5" name="Grafik 14">
              <a:extLst>
                <a:ext uri="{FF2B5EF4-FFF2-40B4-BE49-F238E27FC236}">
                  <a16:creationId xmlns:a16="http://schemas.microsoft.com/office/drawing/2014/main" id="{E58C71A6-607B-1F59-0F1E-9E323D58E63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1276884">
              <a:off x="-972337" y="-1113163"/>
              <a:ext cx="1875582" cy="2578389"/>
            </a:xfrm>
            <a:prstGeom prst="rect">
              <a:avLst/>
            </a:prstGeom>
          </p:spPr>
        </p:pic>
        <p:pic>
          <p:nvPicPr>
            <p:cNvPr id="6" name="Grafik 17">
              <a:extLst>
                <a:ext uri="{FF2B5EF4-FFF2-40B4-BE49-F238E27FC236}">
                  <a16:creationId xmlns:a16="http://schemas.microsoft.com/office/drawing/2014/main" id="{455824B2-9AA0-345E-F185-36F19630A64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276884">
              <a:off x="-473278" y="482652"/>
              <a:ext cx="7123839" cy="2103684"/>
            </a:xfrm>
            <a:prstGeom prst="rect">
              <a:avLst/>
            </a:prstGeom>
          </p:spPr>
        </p:pic>
      </p:grpSp>
      <p:pic>
        <p:nvPicPr>
          <p:cNvPr id="7" name="Grafik 19">
            <a:extLst>
              <a:ext uri="{FF2B5EF4-FFF2-40B4-BE49-F238E27FC236}">
                <a16:creationId xmlns:a16="http://schemas.microsoft.com/office/drawing/2014/main" id="{59DE51CF-1458-61CB-586E-59135554A021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8496" y="0"/>
            <a:ext cx="7671139" cy="6858000"/>
          </a:xfrm>
          <a:prstGeom prst="rect">
            <a:avLst/>
          </a:prstGeom>
        </p:spPr>
      </p:pic>
      <p:sp>
        <p:nvSpPr>
          <p:cNvPr id="8" name="Titel 1">
            <a:extLst>
              <a:ext uri="{FF2B5EF4-FFF2-40B4-BE49-F238E27FC236}">
                <a16:creationId xmlns:a16="http://schemas.microsoft.com/office/drawing/2014/main" id="{5CA6711B-A2C2-8CA3-EFEB-248FF4F557F4}"/>
              </a:ext>
            </a:extLst>
          </p:cNvPr>
          <p:cNvSpPr txBox="1">
            <a:spLocks/>
          </p:cNvSpPr>
          <p:nvPr/>
        </p:nvSpPr>
        <p:spPr>
          <a:xfrm>
            <a:off x="383772" y="3895512"/>
            <a:ext cx="10169150" cy="738664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800" dirty="0">
                <a:solidFill>
                  <a:srgbClr val="FFFFFF"/>
                </a:solidFill>
                <a:latin typeface="TeleNeo Office ExtraBold"/>
              </a:rPr>
              <a:t>OAUTH2 and OIDC Implementation</a:t>
            </a:r>
            <a:endParaRPr kumimoji="0" lang="en-US" sz="4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leNeo Office ExtraBold"/>
              <a:ea typeface="+mj-ea"/>
              <a:cs typeface="+mj-cs"/>
            </a:endParaRPr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D5D158C6-7C55-6789-3AE2-B9F33076F4B9}"/>
              </a:ext>
            </a:extLst>
          </p:cNvPr>
          <p:cNvSpPr txBox="1">
            <a:spLocks/>
          </p:cNvSpPr>
          <p:nvPr/>
        </p:nvSpPr>
        <p:spPr>
          <a:xfrm>
            <a:off x="477080" y="4643698"/>
            <a:ext cx="5618920" cy="984885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  <a:defRPr/>
            </a:pPr>
            <a:r>
              <a:rPr lang="en-US" sz="3200" dirty="0">
                <a:ln w="22225">
                  <a:solidFill>
                    <a:srgbClr val="FFFFFF"/>
                  </a:solidFill>
                </a:ln>
                <a:noFill/>
              </a:rPr>
              <a:t>Building Trust Through Secure Authentication</a:t>
            </a:r>
            <a:r>
              <a:rPr lang="en-US" sz="3200" dirty="0">
                <a:ln w="22225">
                  <a:solidFill>
                    <a:srgbClr val="FFFFFF"/>
                  </a:solidFill>
                </a:ln>
                <a:noFill/>
                <a:latin typeface="TeleNeo Office ExtraBold"/>
              </a:rPr>
              <a:t> </a:t>
            </a:r>
          </a:p>
        </p:txBody>
      </p:sp>
      <p:sp>
        <p:nvSpPr>
          <p:cNvPr id="10" name="Rechteck 5">
            <a:extLst>
              <a:ext uri="{FF2B5EF4-FFF2-40B4-BE49-F238E27FC236}">
                <a16:creationId xmlns:a16="http://schemas.microsoft.com/office/drawing/2014/main" id="{A0EBE343-DB09-86BD-10EA-D877B063F652}"/>
              </a:ext>
            </a:extLst>
          </p:cNvPr>
          <p:cNvSpPr/>
          <p:nvPr/>
        </p:nvSpPr>
        <p:spPr>
          <a:xfrm>
            <a:off x="-254000" y="-254000"/>
            <a:ext cx="0" cy="0"/>
          </a:xfrm>
          <a:prstGeom prst="rect">
            <a:avLst/>
          </a:prstGeom>
          <a:solidFill>
            <a:schemeClr val="tx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sz="100"/>
              <a:t>294955680</a:t>
            </a:r>
          </a:p>
        </p:txBody>
      </p:sp>
      <p:sp>
        <p:nvSpPr>
          <p:cNvPr id="12" name="Rechteck 1">
            <a:extLst>
              <a:ext uri="{FF2B5EF4-FFF2-40B4-BE49-F238E27FC236}">
                <a16:creationId xmlns:a16="http://schemas.microsoft.com/office/drawing/2014/main" id="{2351173B-29B2-724A-B2D5-7D63D39C1B66}"/>
              </a:ext>
            </a:extLst>
          </p:cNvPr>
          <p:cNvSpPr/>
          <p:nvPr/>
        </p:nvSpPr>
        <p:spPr>
          <a:xfrm>
            <a:off x="-254000" y="-254000"/>
            <a:ext cx="0" cy="0"/>
          </a:xfrm>
          <a:prstGeom prst="rect">
            <a:avLst/>
          </a:prstGeom>
          <a:solidFill>
            <a:schemeClr val="tx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sz="100"/>
              <a:t>493431184</a:t>
            </a:r>
          </a:p>
        </p:txBody>
      </p:sp>
      <p:sp>
        <p:nvSpPr>
          <p:cNvPr id="13" name="Rechteck 2">
            <a:extLst>
              <a:ext uri="{FF2B5EF4-FFF2-40B4-BE49-F238E27FC236}">
                <a16:creationId xmlns:a16="http://schemas.microsoft.com/office/drawing/2014/main" id="{5EE39553-807B-23E1-BA6B-0473A8235DBE}"/>
              </a:ext>
            </a:extLst>
          </p:cNvPr>
          <p:cNvSpPr/>
          <p:nvPr/>
        </p:nvSpPr>
        <p:spPr>
          <a:xfrm>
            <a:off x="-254000" y="-254000"/>
            <a:ext cx="0" cy="0"/>
          </a:xfrm>
          <a:prstGeom prst="rect">
            <a:avLst/>
          </a:prstGeom>
          <a:solidFill>
            <a:schemeClr val="tx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en-US" sz="100"/>
              <a:t>420495904</a:t>
            </a:r>
          </a:p>
        </p:txBody>
      </p:sp>
      <p:pic>
        <p:nvPicPr>
          <p:cNvPr id="15" name="Grafik 11">
            <a:extLst>
              <a:ext uri="{FF2B5EF4-FFF2-40B4-BE49-F238E27FC236}">
                <a16:creationId xmlns:a16="http://schemas.microsoft.com/office/drawing/2014/main" id="{D25BBF43-4CB4-1840-C102-7CD9F7C7438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706941" y="162980"/>
            <a:ext cx="2756828" cy="56541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4B080F32-8B12-DC68-EC5E-01B93EF259A4}"/>
              </a:ext>
            </a:extLst>
          </p:cNvPr>
          <p:cNvSpPr txBox="1"/>
          <p:nvPr/>
        </p:nvSpPr>
        <p:spPr>
          <a:xfrm>
            <a:off x="9272104" y="4477710"/>
            <a:ext cx="2590800" cy="131685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44000" indent="-144000" algn="l"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</a:pPr>
            <a:endParaRPr lang="en-US" b="1" dirty="0">
              <a:solidFill>
                <a:schemeClr val="bg1"/>
              </a:solidFill>
            </a:endParaRPr>
          </a:p>
          <a:p>
            <a:pPr algn="ctr">
              <a:buClr>
                <a:schemeClr val="tx2"/>
              </a:buClr>
              <a:buSzPct val="100000"/>
            </a:pPr>
            <a:r>
              <a:rPr lang="en-US" b="1" dirty="0">
                <a:solidFill>
                  <a:schemeClr val="bg1"/>
                </a:solidFill>
                <a:latin typeface="TeleNeo Office" panose="020B0504040202090203" pitchFamily="34" charset="77"/>
              </a:rPr>
              <a:t>17th December 2025</a:t>
            </a:r>
          </a:p>
          <a:p>
            <a:pPr marL="144000" indent="-144000" algn="ctr"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</a:pPr>
            <a:endParaRPr lang="en-US" b="1" dirty="0">
              <a:solidFill>
                <a:schemeClr val="bg1"/>
              </a:solidFill>
              <a:latin typeface="TeleNeo Office" panose="020B0504040202090203" pitchFamily="34" charset="77"/>
            </a:endParaRPr>
          </a:p>
          <a:p>
            <a:pPr algn="ctr">
              <a:buClr>
                <a:schemeClr val="tx2"/>
              </a:buClr>
              <a:buSzPct val="100000"/>
            </a:pPr>
            <a:r>
              <a:rPr lang="en-US" b="1" dirty="0">
                <a:solidFill>
                  <a:schemeClr val="bg1"/>
                </a:solidFill>
                <a:latin typeface="TeleNeo Office" panose="020B0504040202090203" pitchFamily="34" charset="77"/>
              </a:rPr>
              <a:t>Presenter : Arun Nagaraju</a:t>
            </a:r>
          </a:p>
          <a:p>
            <a:pPr marL="144000" indent="-144000" algn="l"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</a:pPr>
            <a:endParaRPr lang="en-US" b="1" dirty="0">
              <a:solidFill>
                <a:schemeClr val="bg1"/>
              </a:solidFill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94CFCBC8-BD45-8B25-E1D3-7CD435BE2F1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292783" y="5699695"/>
            <a:ext cx="2683936" cy="9705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305873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475AAE7-BCED-B2F2-7509-3BF580DBEE6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2">
            <a:extLst>
              <a:ext uri="{FF2B5EF4-FFF2-40B4-BE49-F238E27FC236}">
                <a16:creationId xmlns:a16="http://schemas.microsoft.com/office/drawing/2014/main" id="{1D40D59E-80AF-4E28-4F24-04174E936B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4828" y="167315"/>
            <a:ext cx="10698405" cy="503999"/>
          </a:xfrm>
        </p:spPr>
        <p:txBody>
          <a:bodyPr vert="horz"/>
          <a:lstStyle/>
          <a:p>
            <a:r>
              <a:rPr lang="en-US" b="1" dirty="0"/>
              <a:t>What OpenID Connect Adds to OAuth2</a:t>
            </a:r>
          </a:p>
        </p:txBody>
      </p:sp>
      <p:sp>
        <p:nvSpPr>
          <p:cNvPr id="53" name="Footer Placeholder 2">
            <a:extLst>
              <a:ext uri="{FF2B5EF4-FFF2-40B4-BE49-F238E27FC236}">
                <a16:creationId xmlns:a16="http://schemas.microsoft.com/office/drawing/2014/main" id="{368A3C32-798A-97C7-DACC-7C1FD5211F0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2054" y="6453000"/>
            <a:ext cx="9326146" cy="32400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9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T-Systems India - Digital Solutions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F1BCD1C-63E6-7D6B-4929-1163EB5C975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1A5E10D-79A5-49BA-9648-53481340C65F}" type="slidenum">
              <a:rPr lang="de-DE" smtClean="0"/>
              <a:pPr/>
              <a:t>10</a:t>
            </a:fld>
            <a:endParaRPr lang="de-DE"/>
          </a:p>
        </p:txBody>
      </p:sp>
      <p:sp>
        <p:nvSpPr>
          <p:cNvPr id="11" name="Parallelogramm 5">
            <a:extLst>
              <a:ext uri="{FF2B5EF4-FFF2-40B4-BE49-F238E27FC236}">
                <a16:creationId xmlns:a16="http://schemas.microsoft.com/office/drawing/2014/main" id="{FFA5E033-9AC0-266B-5F21-8E346236A435}"/>
              </a:ext>
            </a:extLst>
          </p:cNvPr>
          <p:cNvSpPr/>
          <p:nvPr>
            <p:custDataLst>
              <p:tags r:id="rId1"/>
            </p:custDataLst>
          </p:nvPr>
        </p:nvSpPr>
        <p:spPr bwMode="gray">
          <a:xfrm>
            <a:off x="-3319863" y="-2556012"/>
            <a:ext cx="11517123" cy="6858001"/>
          </a:xfrm>
          <a:prstGeom prst="parallelogram">
            <a:avLst>
              <a:gd name="adj" fmla="val 44978"/>
            </a:avLst>
          </a:prstGeom>
          <a:noFill/>
          <a:ln w="12700">
            <a:noFill/>
          </a:ln>
          <a:effectLst>
            <a:outerShdw blurRad="203200" sx="103000" sy="103000" algn="ctr" rotWithShape="0">
              <a:prstClr val="black">
                <a:alpha val="9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leNeo Office"/>
              <a:ea typeface="+mn-ea"/>
              <a:cs typeface="+mn-cs"/>
            </a:endParaRPr>
          </a:p>
        </p:txBody>
      </p:sp>
      <p:sp>
        <p:nvSpPr>
          <p:cNvPr id="13" name="Foliennummernplatzhalter 5">
            <a:extLst>
              <a:ext uri="{FF2B5EF4-FFF2-40B4-BE49-F238E27FC236}">
                <a16:creationId xmlns:a16="http://schemas.microsoft.com/office/drawing/2014/main" id="{3C448F3F-8CCD-337C-3BCE-CB8D8186D1F1}"/>
              </a:ext>
            </a:extLst>
          </p:cNvPr>
          <p:cNvSpPr txBox="1">
            <a:spLocks/>
          </p:cNvSpPr>
          <p:nvPr/>
        </p:nvSpPr>
        <p:spPr bwMode="black">
          <a:xfrm>
            <a:off x="11442000" y="6453000"/>
            <a:ext cx="252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1A5E10D-79A5-49BA-9648-53481340C65F}" type="slidenum">
              <a:rPr lang="de-DE" smtClean="0">
                <a:solidFill>
                  <a:schemeClr val="bg1"/>
                </a:solidFill>
              </a:rPr>
              <a:pPr/>
              <a:t>10</a:t>
            </a:fld>
            <a:endParaRPr lang="de-DE">
              <a:solidFill>
                <a:schemeClr val="bg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C364B7D-3244-74C4-B3C4-0AF2D4193DA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4828" y="671314"/>
            <a:ext cx="10399397" cy="5872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872010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0E064C-28D3-C537-4539-B3F4D38C754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2">
            <a:extLst>
              <a:ext uri="{FF2B5EF4-FFF2-40B4-BE49-F238E27FC236}">
                <a16:creationId xmlns:a16="http://schemas.microsoft.com/office/drawing/2014/main" id="{19E2C9A5-8E87-801E-5C08-3174F67F0A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182633"/>
            <a:ext cx="10698405" cy="503999"/>
          </a:xfrm>
        </p:spPr>
        <p:txBody>
          <a:bodyPr vert="horz"/>
          <a:lstStyle/>
          <a:p>
            <a:r>
              <a:rPr lang="en-US" b="1" dirty="0"/>
              <a:t>OAuth2 vs OIDC Comparison</a:t>
            </a:r>
            <a:endParaRPr lang="de-DE" dirty="0"/>
          </a:p>
        </p:txBody>
      </p:sp>
      <p:sp>
        <p:nvSpPr>
          <p:cNvPr id="53" name="Footer Placeholder 2">
            <a:extLst>
              <a:ext uri="{FF2B5EF4-FFF2-40B4-BE49-F238E27FC236}">
                <a16:creationId xmlns:a16="http://schemas.microsoft.com/office/drawing/2014/main" id="{EB06354B-BD16-F3C4-BA6D-658F7E08432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2054" y="6453000"/>
            <a:ext cx="9326146" cy="32400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9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T-Systems India - Digital Solutions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6410DD5-7341-713C-9F61-9657A6100B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1A5E10D-79A5-49BA-9648-53481340C65F}" type="slidenum">
              <a:rPr lang="de-DE" smtClean="0"/>
              <a:pPr/>
              <a:t>11</a:t>
            </a:fld>
            <a:endParaRPr lang="de-DE"/>
          </a:p>
        </p:txBody>
      </p:sp>
      <p:sp>
        <p:nvSpPr>
          <p:cNvPr id="11" name="Parallelogramm 5">
            <a:extLst>
              <a:ext uri="{FF2B5EF4-FFF2-40B4-BE49-F238E27FC236}">
                <a16:creationId xmlns:a16="http://schemas.microsoft.com/office/drawing/2014/main" id="{69AA2B88-4281-2A36-53F1-F8F949E3CDEC}"/>
              </a:ext>
            </a:extLst>
          </p:cNvPr>
          <p:cNvSpPr/>
          <p:nvPr>
            <p:custDataLst>
              <p:tags r:id="rId1"/>
            </p:custDataLst>
          </p:nvPr>
        </p:nvSpPr>
        <p:spPr bwMode="gray">
          <a:xfrm>
            <a:off x="-3319863" y="-2556012"/>
            <a:ext cx="11517123" cy="6858001"/>
          </a:xfrm>
          <a:prstGeom prst="parallelogram">
            <a:avLst>
              <a:gd name="adj" fmla="val 44978"/>
            </a:avLst>
          </a:prstGeom>
          <a:noFill/>
          <a:ln w="12700">
            <a:noFill/>
          </a:ln>
          <a:effectLst>
            <a:outerShdw blurRad="203200" sx="103000" sy="103000" algn="ctr" rotWithShape="0">
              <a:prstClr val="black">
                <a:alpha val="9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leNeo Office"/>
              <a:ea typeface="+mn-ea"/>
              <a:cs typeface="+mn-cs"/>
            </a:endParaRPr>
          </a:p>
        </p:txBody>
      </p:sp>
      <p:sp>
        <p:nvSpPr>
          <p:cNvPr id="13" name="Foliennummernplatzhalter 5">
            <a:extLst>
              <a:ext uri="{FF2B5EF4-FFF2-40B4-BE49-F238E27FC236}">
                <a16:creationId xmlns:a16="http://schemas.microsoft.com/office/drawing/2014/main" id="{18337988-E6A6-8207-94B5-B59E61CC9D5C}"/>
              </a:ext>
            </a:extLst>
          </p:cNvPr>
          <p:cNvSpPr txBox="1">
            <a:spLocks/>
          </p:cNvSpPr>
          <p:nvPr/>
        </p:nvSpPr>
        <p:spPr bwMode="black">
          <a:xfrm>
            <a:off x="11442000" y="6453000"/>
            <a:ext cx="252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1A5E10D-79A5-49BA-9648-53481340C65F}" type="slidenum">
              <a:rPr lang="de-DE" smtClean="0">
                <a:solidFill>
                  <a:schemeClr val="bg1"/>
                </a:solidFill>
              </a:rPr>
              <a:pPr/>
              <a:t>11</a:t>
            </a:fld>
            <a:endParaRPr lang="de-DE">
              <a:solidFill>
                <a:schemeClr val="bg1"/>
              </a:solidFill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B26D41E6-3D27-60D2-FA18-0DE33ABA46B0}"/>
              </a:ext>
            </a:extLst>
          </p:cNvPr>
          <p:cNvSpPr txBox="1"/>
          <p:nvPr/>
        </p:nvSpPr>
        <p:spPr>
          <a:xfrm>
            <a:off x="9389327" y="5876693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144000" indent="-144000" algn="l"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</a:pPr>
            <a:endParaRPr lang="en-US" dirty="0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B7A48BA0-6062-F4A5-F523-D22940093B27}"/>
              </a:ext>
            </a:extLst>
          </p:cNvPr>
          <p:cNvSpPr txBox="1"/>
          <p:nvPr/>
        </p:nvSpPr>
        <p:spPr>
          <a:xfrm>
            <a:off x="11140068" y="5787483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144000" indent="-144000" algn="l"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</a:pPr>
            <a:endParaRPr lang="en-US" dirty="0"/>
          </a:p>
        </p:txBody>
      </p:sp>
      <p:sp>
        <p:nvSpPr>
          <p:cNvPr id="2" name="Inhaltsplatzhalter 3">
            <a:extLst>
              <a:ext uri="{FF2B5EF4-FFF2-40B4-BE49-F238E27FC236}">
                <a16:creationId xmlns:a16="http://schemas.microsoft.com/office/drawing/2014/main" id="{7A38FD5A-CC37-B5DD-961D-8338802238CB}"/>
              </a:ext>
            </a:extLst>
          </p:cNvPr>
          <p:cNvSpPr txBox="1">
            <a:spLocks/>
          </p:cNvSpPr>
          <p:nvPr/>
        </p:nvSpPr>
        <p:spPr>
          <a:xfrm>
            <a:off x="411477" y="1388377"/>
            <a:ext cx="10698407" cy="4165131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0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GB" dirty="0">
              <a:latin typeface="TeleNeo Office" panose="020B0504040202090203" pitchFamily="34" charset="0"/>
              <a:cs typeface="Arial"/>
            </a:endParaRPr>
          </a:p>
          <a:p>
            <a:pPr>
              <a:buClr>
                <a:schemeClr val="tx2"/>
              </a:buClr>
            </a:pPr>
            <a:endParaRPr lang="en-US" dirty="0">
              <a:latin typeface="TeleNeo Office" panose="020B0504040202090203" pitchFamily="34" charset="0"/>
              <a:cs typeface="Arial"/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488E6695-E4F5-A285-EA46-05321D9CD86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0804751"/>
              </p:ext>
            </p:extLst>
          </p:nvPr>
        </p:nvGraphicFramePr>
        <p:xfrm>
          <a:off x="479425" y="923926"/>
          <a:ext cx="11214576" cy="5362578"/>
        </p:xfrm>
        <a:graphic>
          <a:graphicData uri="http://schemas.openxmlformats.org/drawingml/2006/table">
            <a:tbl>
              <a:tblPr/>
              <a:tblGrid>
                <a:gridCol w="3738192">
                  <a:extLst>
                    <a:ext uri="{9D8B030D-6E8A-4147-A177-3AD203B41FA5}">
                      <a16:colId xmlns:a16="http://schemas.microsoft.com/office/drawing/2014/main" val="2681737479"/>
                    </a:ext>
                  </a:extLst>
                </a:gridCol>
                <a:gridCol w="3738192">
                  <a:extLst>
                    <a:ext uri="{9D8B030D-6E8A-4147-A177-3AD203B41FA5}">
                      <a16:colId xmlns:a16="http://schemas.microsoft.com/office/drawing/2014/main" val="3411053462"/>
                    </a:ext>
                  </a:extLst>
                </a:gridCol>
                <a:gridCol w="3738192">
                  <a:extLst>
                    <a:ext uri="{9D8B030D-6E8A-4147-A177-3AD203B41FA5}">
                      <a16:colId xmlns:a16="http://schemas.microsoft.com/office/drawing/2014/main" val="2425008800"/>
                    </a:ext>
                  </a:extLst>
                </a:gridCol>
              </a:tblGrid>
              <a:tr h="510722">
                <a:tc>
                  <a:txBody>
                    <a:bodyPr/>
                    <a:lstStyle/>
                    <a:p>
                      <a:r>
                        <a:rPr lang="en-US" b="1">
                          <a:effectLst/>
                        </a:rPr>
                        <a:t>Feature</a:t>
                      </a:r>
                      <a:endParaRPr lang="en-US">
                        <a:effectLst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effectLst/>
                        </a:rPr>
                        <a:t>OAuth 2.0 (e.g., GitHub)</a:t>
                      </a:r>
                      <a:endParaRPr lang="en-US" dirty="0">
                        <a:effectLst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effectLst/>
                        </a:rPr>
                        <a:t>OIDC (e.g., Azure, Google, Auth0)</a:t>
                      </a:r>
                      <a:endParaRPr lang="en-US" dirty="0">
                        <a:effectLst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6017184"/>
                  </a:ext>
                </a:extLst>
              </a:tr>
              <a:tr h="510722">
                <a:tc>
                  <a:txBody>
                    <a:bodyPr/>
                    <a:lstStyle/>
                    <a:p>
                      <a:r>
                        <a:rPr lang="en-US" b="1">
                          <a:effectLst/>
                        </a:rPr>
                        <a:t>Primary Purpose</a:t>
                      </a:r>
                      <a:endParaRPr lang="en-US">
                        <a:effectLst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>
                          <a:effectLst/>
                        </a:rPr>
                        <a:t>Authorization (API access)</a:t>
                      </a:r>
                    </a:p>
                  </a:txBody>
                  <a:tcPr anchor="ctr">
                    <a:lnL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>
                          <a:effectLst/>
                        </a:rPr>
                        <a:t>Authentication </a:t>
                      </a:r>
                      <a:r>
                        <a:rPr lang="en-US" b="1">
                          <a:effectLst/>
                        </a:rPr>
                        <a:t>+</a:t>
                      </a:r>
                      <a:r>
                        <a:rPr lang="en-US">
                          <a:effectLst/>
                        </a:rPr>
                        <a:t> Authorization</a:t>
                      </a:r>
                    </a:p>
                  </a:txBody>
                  <a:tcPr anchor="ctr">
                    <a:lnL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16139617"/>
                  </a:ext>
                </a:extLst>
              </a:tr>
              <a:tr h="893762">
                <a:tc>
                  <a:txBody>
                    <a:bodyPr/>
                    <a:lstStyle/>
                    <a:p>
                      <a:r>
                        <a:rPr lang="en-US" b="1">
                          <a:effectLst/>
                        </a:rPr>
                        <a:t>Tokens Returned</a:t>
                      </a:r>
                      <a:endParaRPr lang="en-US">
                        <a:effectLst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effectLst/>
                        </a:rPr>
                        <a:t>Access Token only</a:t>
                      </a:r>
                    </a:p>
                  </a:txBody>
                  <a:tcPr anchor="ctr">
                    <a:lnL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>
                          <a:effectLst/>
                        </a:rPr>
                        <a:t>ID Token </a:t>
                      </a:r>
                      <a:r>
                        <a:rPr lang="en-US" b="1">
                          <a:effectLst/>
                        </a:rPr>
                        <a:t>+</a:t>
                      </a:r>
                      <a:r>
                        <a:rPr lang="en-US">
                          <a:effectLst/>
                        </a:rPr>
                        <a:t> Access Token </a:t>
                      </a:r>
                      <a:r>
                        <a:rPr lang="en-US" b="1">
                          <a:effectLst/>
                        </a:rPr>
                        <a:t>+</a:t>
                      </a:r>
                      <a:r>
                        <a:rPr lang="en-US">
                          <a:effectLst/>
                        </a:rPr>
                        <a:t> Refresh Token ✨</a:t>
                      </a:r>
                    </a:p>
                  </a:txBody>
                  <a:tcPr anchor="ctr">
                    <a:lnL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80914977"/>
                  </a:ext>
                </a:extLst>
              </a:tr>
              <a:tr h="510722">
                <a:tc>
                  <a:txBody>
                    <a:bodyPr/>
                    <a:lstStyle/>
                    <a:p>
                      <a:r>
                        <a:rPr lang="en-US" b="1">
                          <a:effectLst/>
                        </a:rPr>
                        <a:t>User Identity</a:t>
                      </a:r>
                      <a:endParaRPr lang="en-US">
                        <a:effectLst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effectLst/>
                        </a:rPr>
                        <a:t>Requires API call to /user</a:t>
                      </a:r>
                    </a:p>
                  </a:txBody>
                  <a:tcPr anchor="ctr">
                    <a:lnL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>
                          <a:effectLst/>
                        </a:rPr>
                        <a:t>Included in </a:t>
                      </a:r>
                      <a:r>
                        <a:rPr lang="en-US" b="1">
                          <a:effectLst/>
                        </a:rPr>
                        <a:t>ID Token</a:t>
                      </a:r>
                      <a:r>
                        <a:rPr lang="en-US">
                          <a:effectLst/>
                        </a:rPr>
                        <a:t> (no extra call) ✨</a:t>
                      </a:r>
                    </a:p>
                  </a:txBody>
                  <a:tcPr anchor="ctr">
                    <a:lnL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7843133"/>
                  </a:ext>
                </a:extLst>
              </a:tr>
              <a:tr h="510722">
                <a:tc>
                  <a:txBody>
                    <a:bodyPr/>
                    <a:lstStyle/>
                    <a:p>
                      <a:r>
                        <a:rPr lang="en-US" b="1" dirty="0">
                          <a:effectLst/>
                        </a:rPr>
                        <a:t>User Info Format</a:t>
                      </a:r>
                      <a:endParaRPr lang="en-US" dirty="0">
                        <a:effectLst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effectLst/>
                        </a:rPr>
                        <a:t>Provider-specific JSON</a:t>
                      </a:r>
                    </a:p>
                  </a:txBody>
                  <a:tcPr anchor="ctr">
                    <a:lnL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>
                          <a:effectLst/>
                        </a:rPr>
                        <a:t>Standardized </a:t>
                      </a:r>
                      <a:r>
                        <a:rPr lang="en-US" b="1">
                          <a:effectLst/>
                        </a:rPr>
                        <a:t>JWT claims</a:t>
                      </a:r>
                      <a:r>
                        <a:rPr lang="en-US">
                          <a:effectLst/>
                        </a:rPr>
                        <a:t> ✨</a:t>
                      </a:r>
                    </a:p>
                  </a:txBody>
                  <a:tcPr anchor="ctr">
                    <a:lnL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47428950"/>
                  </a:ext>
                </a:extLst>
              </a:tr>
              <a:tr h="893762">
                <a:tc>
                  <a:txBody>
                    <a:bodyPr/>
                    <a:lstStyle/>
                    <a:p>
                      <a:r>
                        <a:rPr lang="en-US" b="1">
                          <a:effectLst/>
                        </a:rPr>
                        <a:t>Scopes</a:t>
                      </a:r>
                      <a:endParaRPr lang="en-US">
                        <a:effectLst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effectLst/>
                        </a:rPr>
                        <a:t>Provider-specific</a:t>
                      </a:r>
                    </a:p>
                  </a:txBody>
                  <a:tcPr anchor="ctr">
                    <a:lnL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>
                          <a:effectLst/>
                        </a:rPr>
                        <a:t>Standardized (openid, profile, email) ✨</a:t>
                      </a:r>
                    </a:p>
                  </a:txBody>
                  <a:tcPr anchor="ctr">
                    <a:lnL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9286852"/>
                  </a:ext>
                </a:extLst>
              </a:tr>
              <a:tr h="510722">
                <a:tc>
                  <a:txBody>
                    <a:bodyPr/>
                    <a:lstStyle/>
                    <a:p>
                      <a:r>
                        <a:rPr lang="en-US" b="1">
                          <a:effectLst/>
                        </a:rPr>
                        <a:t>Role Information</a:t>
                      </a:r>
                      <a:endParaRPr lang="en-US">
                        <a:effectLst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effectLst/>
                        </a:rPr>
                        <a:t>Manual fetching (e.g., Teams API)</a:t>
                      </a:r>
                    </a:p>
                  </a:txBody>
                  <a:tcPr anchor="ctr">
                    <a:lnL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>
                          <a:effectLst/>
                        </a:rPr>
                        <a:t>Included in </a:t>
                      </a:r>
                      <a:r>
                        <a:rPr lang="en-US" b="1">
                          <a:effectLst/>
                        </a:rPr>
                        <a:t>ID Token claims</a:t>
                      </a:r>
                      <a:r>
                        <a:rPr lang="en-US">
                          <a:effectLst/>
                        </a:rPr>
                        <a:t> ✨</a:t>
                      </a:r>
                    </a:p>
                  </a:txBody>
                  <a:tcPr anchor="ctr">
                    <a:lnL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9165731"/>
                  </a:ext>
                </a:extLst>
              </a:tr>
              <a:tr h="510722">
                <a:tc>
                  <a:txBody>
                    <a:bodyPr/>
                    <a:lstStyle/>
                    <a:p>
                      <a:r>
                        <a:rPr lang="en-US" b="1">
                          <a:effectLst/>
                        </a:rPr>
                        <a:t>Token Validation</a:t>
                      </a:r>
                      <a:endParaRPr lang="en-US">
                        <a:effectLst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>
                          <a:effectLst/>
                        </a:rPr>
                        <a:t>Opaque token (server-side validation)</a:t>
                      </a:r>
                    </a:p>
                  </a:txBody>
                  <a:tcPr anchor="ctr">
                    <a:lnL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b="1">
                          <a:effectLst/>
                        </a:rPr>
                        <a:t>JWT signature verification</a:t>
                      </a:r>
                      <a:r>
                        <a:rPr lang="en-US">
                          <a:effectLst/>
                        </a:rPr>
                        <a:t> ✨</a:t>
                      </a:r>
                    </a:p>
                  </a:txBody>
                  <a:tcPr anchor="ctr">
                    <a:lnL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02302123"/>
                  </a:ext>
                </a:extLst>
              </a:tr>
              <a:tr h="510722">
                <a:tc>
                  <a:txBody>
                    <a:bodyPr/>
                    <a:lstStyle/>
                    <a:p>
                      <a:r>
                        <a:rPr lang="en-US" b="1">
                          <a:effectLst/>
                        </a:rPr>
                        <a:t>Implementation</a:t>
                      </a:r>
                      <a:endParaRPr lang="en-US">
                        <a:effectLst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effectLst/>
                        </a:rPr>
                        <a:t>Custom per provider</a:t>
                      </a:r>
                    </a:p>
                  </a:txBody>
                  <a:tcPr anchor="ctr">
                    <a:lnL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effectLst/>
                        </a:rPr>
                        <a:t>Consistent across providers ✨</a:t>
                      </a:r>
                    </a:p>
                  </a:txBody>
                  <a:tcPr anchor="ctr">
                    <a:lnL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11777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7750447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6E86B60-D3ED-1AF8-B95F-54D5AD2C5E5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751A9F-992A-46B0-2A9E-6671F0C685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9575" y="84119"/>
            <a:ext cx="11209946" cy="592156"/>
          </a:xfrm>
        </p:spPr>
        <p:txBody>
          <a:bodyPr/>
          <a:lstStyle/>
          <a:p>
            <a:r>
              <a:rPr lang="en-US" b="1" dirty="0"/>
              <a:t>PKCE - Enhanced Security</a:t>
            </a:r>
            <a:br>
              <a:rPr lang="en-US" b="1" dirty="0"/>
            </a:b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A5ACD37-55DC-DB85-510C-BE1C42AED31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1A5E10D-79A5-49BA-9648-53481340C65F}" type="slidenum">
              <a:rPr lang="de-DE" smtClean="0"/>
              <a:pPr/>
              <a:t>12</a:t>
            </a:fld>
            <a:endParaRPr lang="de-DE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AF122F6-BEBF-92F4-E852-D079360A4FEF}"/>
              </a:ext>
            </a:extLst>
          </p:cNvPr>
          <p:cNvSpPr txBox="1"/>
          <p:nvPr/>
        </p:nvSpPr>
        <p:spPr>
          <a:xfrm>
            <a:off x="409575" y="804119"/>
            <a:ext cx="11468100" cy="43858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/>
              <a:t>What is PKCE?</a:t>
            </a:r>
          </a:p>
          <a:p>
            <a:endParaRPr lang="en-US" b="1" dirty="0"/>
          </a:p>
          <a:p>
            <a:pPr>
              <a:spcAft>
                <a:spcPts val="900"/>
              </a:spcAft>
              <a:buClr>
                <a:schemeClr val="tx2"/>
              </a:buClr>
            </a:pPr>
            <a:r>
              <a:rPr lang="en-US" sz="1600" dirty="0">
                <a:latin typeface="TeleNeo Office" panose="020B0504040202090203" pitchFamily="34" charset="0"/>
                <a:cs typeface="Arial"/>
              </a:rPr>
              <a:t>PKCE (Proof Key for Code Exchange) is an OAuth 2.0 security extension that protects against authorization code interception attacks. It works by:</a:t>
            </a:r>
          </a:p>
          <a:p>
            <a:pPr marL="285750" indent="-285750">
              <a:spcAft>
                <a:spcPts val="9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600" b="1" dirty="0">
                <a:latin typeface="TeleNeo Office" panose="020B0504040202090203" pitchFamily="34" charset="0"/>
                <a:cs typeface="Arial"/>
              </a:rPr>
              <a:t>Code Verifier: </a:t>
            </a:r>
            <a:r>
              <a:rPr lang="en-US" sz="1600" dirty="0">
                <a:latin typeface="TeleNeo Office" panose="020B0504040202090203" pitchFamily="34" charset="0"/>
                <a:cs typeface="Arial"/>
              </a:rPr>
              <a:t>A cryptographically random string generated by the client</a:t>
            </a:r>
          </a:p>
          <a:p>
            <a:pPr marL="285750" indent="-285750">
              <a:spcAft>
                <a:spcPts val="9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600" b="1" dirty="0">
                <a:latin typeface="TeleNeo Office" panose="020B0504040202090203" pitchFamily="34" charset="0"/>
                <a:cs typeface="Arial"/>
              </a:rPr>
              <a:t>Code Challenge: </a:t>
            </a:r>
            <a:r>
              <a:rPr lang="en-US" sz="1600" dirty="0">
                <a:latin typeface="TeleNeo Office" panose="020B0504040202090203" pitchFamily="34" charset="0"/>
                <a:cs typeface="Arial"/>
              </a:rPr>
              <a:t>A SHA256 hash of the code verifier sent in the authorization request</a:t>
            </a:r>
          </a:p>
          <a:p>
            <a:pPr marL="285750" indent="-285750">
              <a:spcAft>
                <a:spcPts val="9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600" b="1" dirty="0">
                <a:latin typeface="TeleNeo Office" panose="020B0504040202090203" pitchFamily="34" charset="0"/>
                <a:cs typeface="Arial"/>
              </a:rPr>
              <a:t>Verification: </a:t>
            </a:r>
            <a:r>
              <a:rPr lang="en-US" sz="1600" dirty="0">
                <a:latin typeface="TeleNeo Office" panose="020B0504040202090203" pitchFamily="34" charset="0"/>
                <a:cs typeface="Arial"/>
              </a:rPr>
              <a:t>The provider verifies the code challenge matches the code verifier during token exchange</a:t>
            </a:r>
          </a:p>
          <a:p>
            <a:endParaRPr lang="en-US" b="1" dirty="0"/>
          </a:p>
          <a:p>
            <a:r>
              <a:rPr lang="en-US" b="1" dirty="0"/>
              <a:t>Why PKCE is Important</a:t>
            </a:r>
          </a:p>
          <a:p>
            <a:endParaRPr lang="en-US" b="1" dirty="0"/>
          </a:p>
          <a:p>
            <a:pPr marL="285750" indent="-285750">
              <a:spcAft>
                <a:spcPts val="9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600" b="1" dirty="0">
                <a:latin typeface="TeleNeo Office" panose="020B0504040202090203" pitchFamily="34" charset="0"/>
                <a:cs typeface="Arial"/>
              </a:rPr>
              <a:t>Prevents Code Interception: </a:t>
            </a:r>
            <a:r>
              <a:rPr lang="en-US" sz="1600" dirty="0">
                <a:latin typeface="TeleNeo Office" panose="020B0504040202090203" pitchFamily="34" charset="0"/>
                <a:cs typeface="Arial"/>
              </a:rPr>
              <a:t>Even if an attacker intercepts the authorization code, they cannot exchange it for tokens without the code verifier</a:t>
            </a:r>
          </a:p>
          <a:p>
            <a:pPr marL="285750" indent="-285750">
              <a:spcAft>
                <a:spcPts val="9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600" b="1" dirty="0">
                <a:latin typeface="TeleNeo Office" panose="020B0504040202090203" pitchFamily="34" charset="0"/>
                <a:cs typeface="Arial"/>
              </a:rPr>
              <a:t>Public Client Security: </a:t>
            </a:r>
            <a:r>
              <a:rPr lang="en-US" sz="1600" dirty="0">
                <a:latin typeface="TeleNeo Office" panose="020B0504040202090203" pitchFamily="34" charset="0"/>
                <a:cs typeface="Arial"/>
              </a:rPr>
              <a:t>Essential for mobile apps, SPAs, and desktop applications</a:t>
            </a:r>
          </a:p>
          <a:p>
            <a:pPr marL="285750" indent="-285750">
              <a:spcAft>
                <a:spcPts val="9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600" b="1" dirty="0">
                <a:latin typeface="TeleNeo Office" panose="020B0504040202090203" pitchFamily="34" charset="0"/>
                <a:cs typeface="Arial"/>
              </a:rPr>
              <a:t>RFC 7636 Standard: </a:t>
            </a:r>
            <a:r>
              <a:rPr lang="en-US" sz="1600" dirty="0">
                <a:latin typeface="TeleNeo Office" panose="020B0504040202090203" pitchFamily="34" charset="0"/>
                <a:cs typeface="Arial"/>
              </a:rPr>
              <a:t>Industry-standard security enhancement</a:t>
            </a:r>
          </a:p>
        </p:txBody>
      </p:sp>
      <p:sp>
        <p:nvSpPr>
          <p:cNvPr id="9" name="Footer Placeholder 2">
            <a:extLst>
              <a:ext uri="{FF2B5EF4-FFF2-40B4-BE49-F238E27FC236}">
                <a16:creationId xmlns:a16="http://schemas.microsoft.com/office/drawing/2014/main" id="{B066B2BB-5A24-DA59-774A-91DEE1EDD4B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2054" y="6453000"/>
            <a:ext cx="9326146" cy="32400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9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T-Systems India - Digital Solutions </a:t>
            </a:r>
          </a:p>
        </p:txBody>
      </p:sp>
    </p:spTree>
    <p:extLst>
      <p:ext uri="{BB962C8B-B14F-4D97-AF65-F5344CB8AC3E}">
        <p14:creationId xmlns:p14="http://schemas.microsoft.com/office/powerpoint/2010/main" val="335715971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F89912-6DCF-4797-6D4A-156159B62D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ithout PK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F4F195B-8833-937D-307F-3C8D2D52FE3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Confidential</a:t>
            </a:r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D6CB5BF-1BC9-C6DC-2D8D-917D909A737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1A5E10D-79A5-49BA-9648-53481340C65F}" type="slidenum">
              <a:rPr lang="de-DE" smtClean="0"/>
              <a:pPr/>
              <a:t>13</a:t>
            </a:fld>
            <a:endParaRPr lang="de-DE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2A95D61-DAB3-7163-B2D6-B5B2074606D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9575" y="900807"/>
            <a:ext cx="11601450" cy="5448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208342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E81094-1362-68BF-2244-465F7E5CAC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9575" y="84119"/>
            <a:ext cx="11209946" cy="592156"/>
          </a:xfrm>
        </p:spPr>
        <p:txBody>
          <a:bodyPr/>
          <a:lstStyle/>
          <a:p>
            <a:r>
              <a:rPr lang="en-US" b="1" dirty="0"/>
              <a:t>OIDC with PKCE</a:t>
            </a:r>
            <a:br>
              <a:rPr lang="en-US" b="1" dirty="0"/>
            </a:b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F77925C-D0C6-DB48-CD10-40D350BB583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1A5E10D-79A5-49BA-9648-53481340C65F}" type="slidenum">
              <a:rPr lang="de-DE" smtClean="0"/>
              <a:pPr/>
              <a:t>14</a:t>
            </a:fld>
            <a:endParaRPr lang="de-DE"/>
          </a:p>
        </p:txBody>
      </p:sp>
      <p:sp>
        <p:nvSpPr>
          <p:cNvPr id="9" name="Footer Placeholder 2">
            <a:extLst>
              <a:ext uri="{FF2B5EF4-FFF2-40B4-BE49-F238E27FC236}">
                <a16:creationId xmlns:a16="http://schemas.microsoft.com/office/drawing/2014/main" id="{52B6F802-3C70-FA9F-6FB4-BA4874B44FC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2054" y="6453000"/>
            <a:ext cx="9326146" cy="32400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9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T-Systems India - Digital Solutions 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3F1EB72A-C625-0919-14DF-1A7C7D9DBD6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9594" y="618234"/>
            <a:ext cx="11469908" cy="5834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87130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3E72FBA5-D8EC-09A3-67D8-50393F6DA7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2">
            <a:extLst>
              <a:ext uri="{FF2B5EF4-FFF2-40B4-BE49-F238E27FC236}">
                <a16:creationId xmlns:a16="http://schemas.microsoft.com/office/drawing/2014/main" id="{EED56EE6-DE87-08FF-B55F-9EFACAEE68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5521" y="3054214"/>
            <a:ext cx="12300508" cy="1247775"/>
          </a:xfrm>
        </p:spPr>
        <p:txBody>
          <a:bodyPr vert="horz"/>
          <a:lstStyle/>
          <a:p>
            <a:r>
              <a:rPr lang="en-GB" dirty="0">
                <a:solidFill>
                  <a:schemeClr val="tx1"/>
                </a:solidFill>
                <a:cs typeface="Arial"/>
              </a:rPr>
              <a:t>Q&amp;A?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53" name="Footer Placeholder 2">
            <a:extLst>
              <a:ext uri="{FF2B5EF4-FFF2-40B4-BE49-F238E27FC236}">
                <a16:creationId xmlns:a16="http://schemas.microsoft.com/office/drawing/2014/main" id="{A0F62CC1-3C8C-40F3-58D1-12121C6EC3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2054" y="6453000"/>
            <a:ext cx="9326146" cy="32400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9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T-Systems India - Digital Solutions </a:t>
            </a:r>
            <a:endParaRPr kumimoji="0" lang="de-DE" sz="900" b="0" i="0" u="none" strike="noStrike" kern="9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eleNeo Office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3C6F447-1BEA-2974-9C7C-3C2581286E0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1A5E10D-79A5-49BA-9648-53481340C65F}" type="slidenum">
              <a:rPr lang="de-DE" smtClean="0"/>
              <a:pPr/>
              <a:t>15</a:t>
            </a:fld>
            <a:endParaRPr lang="de-DE"/>
          </a:p>
        </p:txBody>
      </p:sp>
      <p:sp>
        <p:nvSpPr>
          <p:cNvPr id="11" name="Parallelogramm 5">
            <a:extLst>
              <a:ext uri="{FF2B5EF4-FFF2-40B4-BE49-F238E27FC236}">
                <a16:creationId xmlns:a16="http://schemas.microsoft.com/office/drawing/2014/main" id="{376BFABE-068A-0DD9-A616-E1823A913209}"/>
              </a:ext>
            </a:extLst>
          </p:cNvPr>
          <p:cNvSpPr/>
          <p:nvPr>
            <p:custDataLst>
              <p:tags r:id="rId1"/>
            </p:custDataLst>
          </p:nvPr>
        </p:nvSpPr>
        <p:spPr bwMode="gray">
          <a:xfrm>
            <a:off x="-3319863" y="-2556012"/>
            <a:ext cx="11517123" cy="6858001"/>
          </a:xfrm>
          <a:prstGeom prst="parallelogram">
            <a:avLst>
              <a:gd name="adj" fmla="val 44978"/>
            </a:avLst>
          </a:prstGeom>
          <a:noFill/>
          <a:ln w="12700">
            <a:noFill/>
          </a:ln>
          <a:effectLst>
            <a:outerShdw blurRad="203200" sx="103000" sy="103000" algn="ctr" rotWithShape="0">
              <a:prstClr val="black">
                <a:alpha val="9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leNeo Office"/>
              <a:ea typeface="+mn-ea"/>
              <a:cs typeface="+mn-cs"/>
            </a:endParaRPr>
          </a:p>
        </p:txBody>
      </p:sp>
      <p:sp>
        <p:nvSpPr>
          <p:cNvPr id="13" name="Foliennummernplatzhalter 5">
            <a:extLst>
              <a:ext uri="{FF2B5EF4-FFF2-40B4-BE49-F238E27FC236}">
                <a16:creationId xmlns:a16="http://schemas.microsoft.com/office/drawing/2014/main" id="{86C999A8-D941-BC12-3E8E-4D12321B3196}"/>
              </a:ext>
            </a:extLst>
          </p:cNvPr>
          <p:cNvSpPr txBox="1">
            <a:spLocks/>
          </p:cNvSpPr>
          <p:nvPr/>
        </p:nvSpPr>
        <p:spPr bwMode="black">
          <a:xfrm>
            <a:off x="11442000" y="6453000"/>
            <a:ext cx="252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1A5E10D-79A5-49BA-9648-53481340C65F}" type="slidenum">
              <a:rPr lang="de-DE" smtClean="0">
                <a:solidFill>
                  <a:schemeClr val="bg1"/>
                </a:solidFill>
              </a:rPr>
              <a:pPr/>
              <a:t>15</a:t>
            </a:fld>
            <a:endParaRPr lang="de-DE">
              <a:solidFill>
                <a:schemeClr val="bg1"/>
              </a:solidFill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A275D2B9-844F-FC70-6CC8-641C75D6A0DB}"/>
              </a:ext>
            </a:extLst>
          </p:cNvPr>
          <p:cNvSpPr txBox="1"/>
          <p:nvPr/>
        </p:nvSpPr>
        <p:spPr>
          <a:xfrm>
            <a:off x="9389327" y="5876693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144000" indent="-144000" algn="l"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</a:pPr>
            <a:endParaRPr lang="en-US" dirty="0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9F138FB8-EA21-F864-3EAE-D709E2512D1E}"/>
              </a:ext>
            </a:extLst>
          </p:cNvPr>
          <p:cNvSpPr txBox="1"/>
          <p:nvPr/>
        </p:nvSpPr>
        <p:spPr>
          <a:xfrm>
            <a:off x="11140068" y="5787483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144000" indent="-144000" algn="l"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510934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8E628B4-F406-200D-CA81-9AA7D829A2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40E6F198-2D69-8058-2DE4-FBAB8846642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20000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38CA2C75-69B2-94A4-56C4-C393237FDC97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0299878" cy="6858000"/>
          </a:xfrm>
          <a:prstGeom prst="rect">
            <a:avLst/>
          </a:prstGeom>
        </p:spPr>
      </p:pic>
      <p:sp>
        <p:nvSpPr>
          <p:cNvPr id="26" name="Titel 4">
            <a:extLst>
              <a:ext uri="{FF2B5EF4-FFF2-40B4-BE49-F238E27FC236}">
                <a16:creationId xmlns:a16="http://schemas.microsoft.com/office/drawing/2014/main" id="{A81A26DD-AA5F-73FE-053B-EA1C44F5131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8800" y="2506405"/>
            <a:ext cx="6337636" cy="1075995"/>
          </a:xfrm>
        </p:spPr>
        <p:txBody>
          <a:bodyPr anchor="ctr"/>
          <a:lstStyle/>
          <a:p>
            <a:r>
              <a:rPr lang="en-US" sz="6600"/>
              <a:t>Thank You!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6CBB39C-6F67-96E4-A6DC-716473E4CDF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colorTemperature colorTemp="5900"/>
                    </a14:imgEffect>
                    <a14:imgEffect>
                      <a14:saturation sat="20000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19888" y="0"/>
            <a:ext cx="1219199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85699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2">
            <a:extLst>
              <a:ext uri="{FF2B5EF4-FFF2-40B4-BE49-F238E27FC236}">
                <a16:creationId xmlns:a16="http://schemas.microsoft.com/office/drawing/2014/main" id="{81D16FBF-0F1C-61A1-AF8B-F099110AD8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4828" y="491165"/>
            <a:ext cx="10698405" cy="503999"/>
          </a:xfrm>
        </p:spPr>
        <p:txBody>
          <a:bodyPr vert="horz"/>
          <a:lstStyle/>
          <a:p>
            <a:r>
              <a:rPr lang="de-DE" dirty="0"/>
              <a:t>Agenda</a:t>
            </a:r>
          </a:p>
        </p:txBody>
      </p:sp>
      <p:sp>
        <p:nvSpPr>
          <p:cNvPr id="53" name="Footer Placeholder 2">
            <a:extLst>
              <a:ext uri="{FF2B5EF4-FFF2-40B4-BE49-F238E27FC236}">
                <a16:creationId xmlns:a16="http://schemas.microsoft.com/office/drawing/2014/main" id="{AE5E8E3E-8827-3BE3-84D4-016FBCE3299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2054" y="6453000"/>
            <a:ext cx="9326146" cy="32400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9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T-Systems India - Digital Solutions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895BFBE-130F-E631-C5BF-053414BDF0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1A5E10D-79A5-49BA-9648-53481340C65F}" type="slidenum">
              <a:rPr lang="de-DE" smtClean="0"/>
              <a:pPr/>
              <a:t>2</a:t>
            </a:fld>
            <a:endParaRPr lang="de-DE"/>
          </a:p>
        </p:txBody>
      </p:sp>
      <p:sp>
        <p:nvSpPr>
          <p:cNvPr id="11" name="Parallelogramm 5">
            <a:extLst>
              <a:ext uri="{FF2B5EF4-FFF2-40B4-BE49-F238E27FC236}">
                <a16:creationId xmlns:a16="http://schemas.microsoft.com/office/drawing/2014/main" id="{F94C4B56-8097-4E5D-7C2C-AF5F61589C80}"/>
              </a:ext>
            </a:extLst>
          </p:cNvPr>
          <p:cNvSpPr/>
          <p:nvPr>
            <p:custDataLst>
              <p:tags r:id="rId1"/>
            </p:custDataLst>
          </p:nvPr>
        </p:nvSpPr>
        <p:spPr bwMode="gray">
          <a:xfrm>
            <a:off x="-3319863" y="-2556012"/>
            <a:ext cx="11517123" cy="6858001"/>
          </a:xfrm>
          <a:prstGeom prst="parallelogram">
            <a:avLst>
              <a:gd name="adj" fmla="val 44978"/>
            </a:avLst>
          </a:prstGeom>
          <a:noFill/>
          <a:ln w="12700">
            <a:noFill/>
          </a:ln>
          <a:effectLst>
            <a:outerShdw blurRad="203200" sx="103000" sy="103000" algn="ctr" rotWithShape="0">
              <a:prstClr val="black">
                <a:alpha val="9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leNeo Office"/>
              <a:ea typeface="+mn-ea"/>
              <a:cs typeface="+mn-cs"/>
            </a:endParaRPr>
          </a:p>
        </p:txBody>
      </p:sp>
      <p:sp>
        <p:nvSpPr>
          <p:cNvPr id="13" name="Foliennummernplatzhalter 5">
            <a:extLst>
              <a:ext uri="{FF2B5EF4-FFF2-40B4-BE49-F238E27FC236}">
                <a16:creationId xmlns:a16="http://schemas.microsoft.com/office/drawing/2014/main" id="{E66AF011-CA5F-F9AA-83B9-5DE6B6FA1C4F}"/>
              </a:ext>
            </a:extLst>
          </p:cNvPr>
          <p:cNvSpPr txBox="1">
            <a:spLocks/>
          </p:cNvSpPr>
          <p:nvPr/>
        </p:nvSpPr>
        <p:spPr bwMode="black">
          <a:xfrm>
            <a:off x="11442000" y="6453000"/>
            <a:ext cx="252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1A5E10D-79A5-49BA-9648-53481340C65F}" type="slidenum">
              <a:rPr lang="de-DE" smtClean="0">
                <a:solidFill>
                  <a:schemeClr val="bg1"/>
                </a:solidFill>
              </a:rPr>
              <a:pPr/>
              <a:t>2</a:t>
            </a:fld>
            <a:endParaRPr lang="de-DE">
              <a:solidFill>
                <a:schemeClr val="bg1"/>
              </a:solidFill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A1EB3DF1-BED6-5012-578C-71BDF8C9094E}"/>
              </a:ext>
            </a:extLst>
          </p:cNvPr>
          <p:cNvSpPr txBox="1"/>
          <p:nvPr/>
        </p:nvSpPr>
        <p:spPr>
          <a:xfrm>
            <a:off x="9389327" y="5876693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144000" indent="-144000" algn="l"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</a:pPr>
            <a:endParaRPr lang="en-US" dirty="0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87A5102E-73B9-429B-C664-E8EC29950F33}"/>
              </a:ext>
            </a:extLst>
          </p:cNvPr>
          <p:cNvSpPr txBox="1"/>
          <p:nvPr/>
        </p:nvSpPr>
        <p:spPr>
          <a:xfrm>
            <a:off x="11140068" y="5787483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144000" indent="-144000" algn="l"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</a:pPr>
            <a:endParaRPr lang="en-US" dirty="0"/>
          </a:p>
        </p:txBody>
      </p:sp>
      <p:sp>
        <p:nvSpPr>
          <p:cNvPr id="6" name="Inhaltsplatzhalter 3">
            <a:extLst>
              <a:ext uri="{FF2B5EF4-FFF2-40B4-BE49-F238E27FC236}">
                <a16:creationId xmlns:a16="http://schemas.microsoft.com/office/drawing/2014/main" id="{D784049E-E92A-7B76-DA33-A7775E321FDD}"/>
              </a:ext>
            </a:extLst>
          </p:cNvPr>
          <p:cNvSpPr txBox="1">
            <a:spLocks/>
          </p:cNvSpPr>
          <p:nvPr/>
        </p:nvSpPr>
        <p:spPr>
          <a:xfrm>
            <a:off x="411477" y="1388377"/>
            <a:ext cx="10698407" cy="4380521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0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What is Authentication &amp; Authorization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Old Ways of Authentic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Cons of Traditional Method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Why OAuth2 and OIDC Are Bett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Delegated Authorization with OAuth 2.0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OAuth 2.0 Terminology &amp; Code Mapp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How OAuth2 Works - Authorization Flow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What OpenID Connect Adds to OAuth2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OAuth2 vs OIDC Comparis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PKCE - Enhanced Secur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 dirty="0"/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CFFA7093-E956-5E38-B365-393EF033186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61100" y="1388377"/>
            <a:ext cx="6667500" cy="3219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8459779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>
          <a:extLst>
            <a:ext uri="{FF2B5EF4-FFF2-40B4-BE49-F238E27FC236}">
              <a16:creationId xmlns:a16="http://schemas.microsoft.com/office/drawing/2014/main" id="{86B1348C-3219-21CE-ECF1-C84B31B336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2">
            <a:extLst>
              <a:ext uri="{FF2B5EF4-FFF2-40B4-BE49-F238E27FC236}">
                <a16:creationId xmlns:a16="http://schemas.microsoft.com/office/drawing/2014/main" id="{340BF6CF-0981-15F1-13BB-AE75253AF0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4828" y="491165"/>
            <a:ext cx="10698405" cy="503999"/>
          </a:xfrm>
        </p:spPr>
        <p:txBody>
          <a:bodyPr vert="horz"/>
          <a:lstStyle/>
          <a:p>
            <a:r>
              <a:rPr lang="en-US" b="1" dirty="0"/>
              <a:t>What is Authentication &amp; Authorization?</a:t>
            </a:r>
          </a:p>
        </p:txBody>
      </p:sp>
      <p:sp>
        <p:nvSpPr>
          <p:cNvPr id="53" name="Footer Placeholder 2">
            <a:extLst>
              <a:ext uri="{FF2B5EF4-FFF2-40B4-BE49-F238E27FC236}">
                <a16:creationId xmlns:a16="http://schemas.microsoft.com/office/drawing/2014/main" id="{25B70E2A-8D74-294F-ACEB-F30D4D8B09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2054" y="6453000"/>
            <a:ext cx="9326146" cy="32400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9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T-Systems India - Digital Solutions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EB60F06-FC34-AFC9-D4B7-980ECB3ED01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1A5E10D-79A5-49BA-9648-53481340C65F}" type="slidenum">
              <a:rPr lang="de-DE" smtClean="0"/>
              <a:pPr/>
              <a:t>3</a:t>
            </a:fld>
            <a:endParaRPr lang="de-DE"/>
          </a:p>
        </p:txBody>
      </p:sp>
      <p:sp>
        <p:nvSpPr>
          <p:cNvPr id="11" name="Parallelogramm 5">
            <a:extLst>
              <a:ext uri="{FF2B5EF4-FFF2-40B4-BE49-F238E27FC236}">
                <a16:creationId xmlns:a16="http://schemas.microsoft.com/office/drawing/2014/main" id="{79F15D47-AB67-5FD2-EF18-220BB047B60C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-3319863" y="-2556012"/>
            <a:ext cx="11517123" cy="6858001"/>
          </a:xfrm>
          <a:prstGeom prst="parallelogram">
            <a:avLst>
              <a:gd name="adj" fmla="val 44978"/>
            </a:avLst>
          </a:prstGeom>
          <a:noFill/>
          <a:ln w="12700">
            <a:noFill/>
          </a:ln>
          <a:effectLst>
            <a:outerShdw blurRad="203200" sx="103000" sy="103000" algn="ctr" rotWithShape="0">
              <a:prstClr val="black">
                <a:alpha val="9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leNeo Office"/>
              <a:ea typeface="+mn-ea"/>
              <a:cs typeface="+mn-cs"/>
            </a:endParaRPr>
          </a:p>
        </p:txBody>
      </p:sp>
      <p:sp>
        <p:nvSpPr>
          <p:cNvPr id="13" name="Foliennummernplatzhalter 5">
            <a:extLst>
              <a:ext uri="{FF2B5EF4-FFF2-40B4-BE49-F238E27FC236}">
                <a16:creationId xmlns:a16="http://schemas.microsoft.com/office/drawing/2014/main" id="{8793A772-3373-66A8-C313-A6EB8B5F6D25}"/>
              </a:ext>
            </a:extLst>
          </p:cNvPr>
          <p:cNvSpPr txBox="1">
            <a:spLocks/>
          </p:cNvSpPr>
          <p:nvPr/>
        </p:nvSpPr>
        <p:spPr bwMode="black">
          <a:xfrm>
            <a:off x="11442000" y="6453000"/>
            <a:ext cx="252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1A5E10D-79A5-49BA-9648-53481340C65F}" type="slidenum">
              <a:rPr lang="de-DE" smtClean="0">
                <a:solidFill>
                  <a:schemeClr val="bg1"/>
                </a:solidFill>
              </a:rPr>
              <a:pPr/>
              <a:t>3</a:t>
            </a:fld>
            <a:endParaRPr lang="de-DE">
              <a:solidFill>
                <a:schemeClr val="bg1"/>
              </a:solidFill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870D92BA-BCBA-F4B3-178B-C0FED4C57DB9}"/>
              </a:ext>
            </a:extLst>
          </p:cNvPr>
          <p:cNvSpPr txBox="1"/>
          <p:nvPr/>
        </p:nvSpPr>
        <p:spPr>
          <a:xfrm>
            <a:off x="9389327" y="5876693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144000" indent="-144000" algn="l"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</a:pPr>
            <a:endParaRPr lang="en-US" dirty="0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17B9E3DD-6D16-3636-8A9D-EAFABE15438D}"/>
              </a:ext>
            </a:extLst>
          </p:cNvPr>
          <p:cNvSpPr txBox="1"/>
          <p:nvPr/>
        </p:nvSpPr>
        <p:spPr>
          <a:xfrm>
            <a:off x="11140068" y="5787483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144000" indent="-144000" algn="l"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</a:pPr>
            <a:endParaRPr lang="en-US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19F693F-65EF-2A38-6DC9-A6990D37A375}"/>
              </a:ext>
            </a:extLst>
          </p:cNvPr>
          <p:cNvSpPr txBox="1"/>
          <p:nvPr/>
        </p:nvSpPr>
        <p:spPr>
          <a:xfrm>
            <a:off x="506135" y="1118463"/>
            <a:ext cx="8492640" cy="418576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spcAft>
                <a:spcPts val="1200"/>
              </a:spcAft>
              <a:buNone/>
            </a:pPr>
            <a:r>
              <a:rPr lang="en-US" sz="1600" b="1" i="0" dirty="0">
                <a:solidFill>
                  <a:srgbClr val="262626"/>
                </a:solidFill>
                <a:effectLst/>
                <a:latin typeface="Helvetica" panose="020B0604020202020204" pitchFamily="34" charset="0"/>
              </a:rPr>
              <a:t>Authentication = Proving Who You Are</a:t>
            </a:r>
          </a:p>
          <a:p>
            <a:pPr algn="l">
              <a:spcBef>
                <a:spcPts val="1200"/>
              </a:spcBef>
              <a:spcAft>
                <a:spcPts val="1200"/>
              </a:spcAft>
              <a:buNone/>
            </a:pPr>
            <a:r>
              <a:rPr lang="en-US" sz="1600" b="1" i="0" dirty="0">
                <a:solidFill>
                  <a:srgbClr val="262626"/>
                </a:solidFill>
                <a:effectLst/>
                <a:latin typeface="Helvetica" panose="020B0604020202020204" pitchFamily="34" charset="0"/>
              </a:rPr>
              <a:t>Definition:</a:t>
            </a:r>
            <a:endParaRPr lang="en-US" sz="1600" b="0" i="0" dirty="0">
              <a:solidFill>
                <a:srgbClr val="262626"/>
              </a:solidFill>
              <a:effectLst/>
              <a:latin typeface="Helvetica" panose="020B0604020202020204" pitchFamily="34" charset="0"/>
            </a:endParaRPr>
          </a:p>
          <a:p>
            <a:pPr algn="l">
              <a:lnSpc>
                <a:spcPct val="50000"/>
              </a:lnSpc>
              <a:spcBef>
                <a:spcPts val="1200"/>
              </a:spcBef>
              <a:spcAft>
                <a:spcPts val="1200"/>
              </a:spcAft>
            </a:pPr>
            <a:r>
              <a:rPr lang="en-US" sz="1600" b="0" i="0" dirty="0">
                <a:solidFill>
                  <a:srgbClr val="262626"/>
                </a:solidFill>
                <a:effectLst/>
                <a:latin typeface="Helvetica" panose="020B0604020202020204" pitchFamily="34" charset="0"/>
              </a:rPr>
              <a:t>Process of verifying the identity of a user, device, or system</a:t>
            </a:r>
          </a:p>
          <a:p>
            <a:pPr algn="l">
              <a:lnSpc>
                <a:spcPct val="50000"/>
              </a:lnSpc>
              <a:spcBef>
                <a:spcPts val="1200"/>
              </a:spcBef>
              <a:spcAft>
                <a:spcPts val="1200"/>
              </a:spcAft>
            </a:pPr>
            <a:r>
              <a:rPr lang="en-US" sz="1600" b="0" i="0" dirty="0">
                <a:solidFill>
                  <a:srgbClr val="262626"/>
                </a:solidFill>
                <a:effectLst/>
                <a:latin typeface="Helvetica" panose="020B0604020202020204" pitchFamily="34" charset="0"/>
              </a:rPr>
              <a:t>Answers the question: “Who are you?”</a:t>
            </a:r>
          </a:p>
          <a:p>
            <a:pPr algn="l">
              <a:lnSpc>
                <a:spcPct val="50000"/>
              </a:lnSpc>
              <a:spcBef>
                <a:spcPts val="1200"/>
              </a:spcBef>
              <a:spcAft>
                <a:spcPts val="1200"/>
              </a:spcAft>
            </a:pPr>
            <a:r>
              <a:rPr lang="en-US" sz="1600" b="0" i="0" dirty="0">
                <a:solidFill>
                  <a:srgbClr val="262626"/>
                </a:solidFill>
                <a:effectLst/>
                <a:latin typeface="Helvetica" panose="020B0604020202020204" pitchFamily="34" charset="0"/>
              </a:rPr>
              <a:t>Different from Authorization: “What can you do?</a:t>
            </a:r>
            <a:r>
              <a:rPr lang="en-US" sz="1600" dirty="0">
                <a:solidFill>
                  <a:srgbClr val="262626"/>
                </a:solidFill>
                <a:latin typeface="Helvetica" panose="020B0604020202020204" pitchFamily="34" charset="0"/>
              </a:rPr>
              <a:t>”</a:t>
            </a:r>
            <a:endParaRPr lang="en-US" sz="1600" b="0" i="0" dirty="0">
              <a:solidFill>
                <a:srgbClr val="262626"/>
              </a:solidFill>
              <a:effectLst/>
              <a:latin typeface="Helvetica" panose="020B0604020202020204" pitchFamily="34" charset="0"/>
            </a:endParaRPr>
          </a:p>
          <a:p>
            <a:endParaRPr lang="en-US" sz="1600" b="1" dirty="0">
              <a:solidFill>
                <a:srgbClr val="262626"/>
              </a:solidFill>
              <a:latin typeface="Helvetica" panose="020B0604020202020204" pitchFamily="34" charset="0"/>
            </a:endParaRPr>
          </a:p>
          <a:p>
            <a:r>
              <a:rPr lang="en-US" sz="1600" b="1" dirty="0">
                <a:solidFill>
                  <a:srgbClr val="262626"/>
                </a:solidFill>
                <a:latin typeface="Helvetica" panose="020B0604020202020204" pitchFamily="34" charset="0"/>
              </a:rPr>
              <a:t>Real-World Analogy:</a:t>
            </a:r>
          </a:p>
          <a:p>
            <a:endParaRPr lang="en-US" sz="1600" b="1" dirty="0">
              <a:solidFill>
                <a:srgbClr val="262626"/>
              </a:solidFill>
              <a:latin typeface="Helvetica" panose="020B0604020202020204" pitchFamily="34" charset="0"/>
            </a:endParaRPr>
          </a:p>
          <a:p>
            <a:pPr>
              <a:lnSpc>
                <a:spcPct val="50000"/>
              </a:lnSpc>
              <a:spcBef>
                <a:spcPts val="1200"/>
              </a:spcBef>
              <a:spcAft>
                <a:spcPts val="1200"/>
              </a:spcAft>
            </a:pPr>
            <a:r>
              <a:rPr lang="en-US" sz="1600" dirty="0">
                <a:solidFill>
                  <a:srgbClr val="262626"/>
                </a:solidFill>
                <a:latin typeface="Helvetica" panose="020B0604020202020204" pitchFamily="34" charset="0"/>
              </a:rPr>
              <a:t>🎫 Authentication = Showing your ID at airport security</a:t>
            </a:r>
          </a:p>
          <a:p>
            <a:pPr>
              <a:lnSpc>
                <a:spcPct val="50000"/>
              </a:lnSpc>
              <a:spcBef>
                <a:spcPts val="1200"/>
              </a:spcBef>
              <a:spcAft>
                <a:spcPts val="1200"/>
              </a:spcAft>
            </a:pPr>
            <a:r>
              <a:rPr lang="en-US" sz="1600" dirty="0">
                <a:solidFill>
                  <a:srgbClr val="262626"/>
                </a:solidFill>
                <a:latin typeface="Helvetica" panose="020B0604020202020204" pitchFamily="34" charset="0"/>
              </a:rPr>
              <a:t>🚪 Authorization = Boarding pass determines which gate you can access</a:t>
            </a:r>
          </a:p>
          <a:p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7665568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073D7A-87D3-27D2-7FEF-C4B3315D46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2">
            <a:extLst>
              <a:ext uri="{FF2B5EF4-FFF2-40B4-BE49-F238E27FC236}">
                <a16:creationId xmlns:a16="http://schemas.microsoft.com/office/drawing/2014/main" id="{D8C385E1-4BC2-C69C-C2E8-2E139D6ED8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627" y="167315"/>
            <a:ext cx="10698405" cy="503999"/>
          </a:xfrm>
        </p:spPr>
        <p:txBody>
          <a:bodyPr vert="horz"/>
          <a:lstStyle/>
          <a:p>
            <a:r>
              <a:rPr lang="en-US" b="1" dirty="0"/>
              <a:t>Old Ways of Authentication</a:t>
            </a:r>
          </a:p>
        </p:txBody>
      </p:sp>
      <p:sp>
        <p:nvSpPr>
          <p:cNvPr id="53" name="Footer Placeholder 2">
            <a:extLst>
              <a:ext uri="{FF2B5EF4-FFF2-40B4-BE49-F238E27FC236}">
                <a16:creationId xmlns:a16="http://schemas.microsoft.com/office/drawing/2014/main" id="{6D26ED55-8B14-1BCC-132A-EA7845B2EE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2054" y="6453000"/>
            <a:ext cx="9326146" cy="32400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9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T-Systems India - Digital Solutions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4D8ED9E-9ADE-24A8-7866-1F4B17DFA85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1A5E10D-79A5-49BA-9648-53481340C65F}" type="slidenum">
              <a:rPr lang="de-DE" smtClean="0"/>
              <a:pPr/>
              <a:t>4</a:t>
            </a:fld>
            <a:endParaRPr lang="de-DE"/>
          </a:p>
        </p:txBody>
      </p:sp>
      <p:sp>
        <p:nvSpPr>
          <p:cNvPr id="11" name="Parallelogramm 5">
            <a:extLst>
              <a:ext uri="{FF2B5EF4-FFF2-40B4-BE49-F238E27FC236}">
                <a16:creationId xmlns:a16="http://schemas.microsoft.com/office/drawing/2014/main" id="{2954CF2F-2620-A6B7-45C9-4A2AC62160D1}"/>
              </a:ext>
            </a:extLst>
          </p:cNvPr>
          <p:cNvSpPr/>
          <p:nvPr>
            <p:custDataLst>
              <p:tags r:id="rId1"/>
            </p:custDataLst>
          </p:nvPr>
        </p:nvSpPr>
        <p:spPr bwMode="gray">
          <a:xfrm>
            <a:off x="-6018675" y="-2685837"/>
            <a:ext cx="11517123" cy="6858001"/>
          </a:xfrm>
          <a:prstGeom prst="parallelogram">
            <a:avLst>
              <a:gd name="adj" fmla="val 44978"/>
            </a:avLst>
          </a:prstGeom>
          <a:noFill/>
          <a:ln w="12700">
            <a:noFill/>
          </a:ln>
          <a:effectLst>
            <a:outerShdw blurRad="203200" sx="103000" sy="103000" algn="ctr" rotWithShape="0">
              <a:prstClr val="black">
                <a:alpha val="9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leNeo Office"/>
              <a:ea typeface="+mn-ea"/>
              <a:cs typeface="+mn-cs"/>
            </a:endParaRPr>
          </a:p>
        </p:txBody>
      </p:sp>
      <p:sp>
        <p:nvSpPr>
          <p:cNvPr id="13" name="Foliennummernplatzhalter 5">
            <a:extLst>
              <a:ext uri="{FF2B5EF4-FFF2-40B4-BE49-F238E27FC236}">
                <a16:creationId xmlns:a16="http://schemas.microsoft.com/office/drawing/2014/main" id="{348BCADF-4F57-E5D8-43FB-6D66EE32B243}"/>
              </a:ext>
            </a:extLst>
          </p:cNvPr>
          <p:cNvSpPr txBox="1">
            <a:spLocks/>
          </p:cNvSpPr>
          <p:nvPr/>
        </p:nvSpPr>
        <p:spPr bwMode="black">
          <a:xfrm>
            <a:off x="11442000" y="6453000"/>
            <a:ext cx="252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1A5E10D-79A5-49BA-9648-53481340C65F}" type="slidenum">
              <a:rPr lang="de-DE" smtClean="0">
                <a:solidFill>
                  <a:schemeClr val="bg1"/>
                </a:solidFill>
              </a:rPr>
              <a:pPr/>
              <a:t>4</a:t>
            </a:fld>
            <a:endParaRPr lang="de-DE">
              <a:solidFill>
                <a:schemeClr val="bg1"/>
              </a:solidFill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EE0FA458-8A1C-77C4-A56B-28710FB1CB12}"/>
              </a:ext>
            </a:extLst>
          </p:cNvPr>
          <p:cNvSpPr txBox="1"/>
          <p:nvPr/>
        </p:nvSpPr>
        <p:spPr>
          <a:xfrm>
            <a:off x="9389327" y="5876693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144000" indent="-144000" algn="l"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</a:pPr>
            <a:endParaRPr lang="en-US" dirty="0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56C3BFEE-0C77-EFBB-DBD0-9C8D323F0EE6}"/>
              </a:ext>
            </a:extLst>
          </p:cNvPr>
          <p:cNvSpPr txBox="1"/>
          <p:nvPr/>
        </p:nvSpPr>
        <p:spPr>
          <a:xfrm>
            <a:off x="11140068" y="5787483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144000" indent="-144000" algn="l"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</a:pPr>
            <a:endParaRPr lang="en-US" dirty="0"/>
          </a:p>
        </p:txBody>
      </p:sp>
      <p:sp>
        <p:nvSpPr>
          <p:cNvPr id="2" name="Inhaltsplatzhalter 3">
            <a:extLst>
              <a:ext uri="{FF2B5EF4-FFF2-40B4-BE49-F238E27FC236}">
                <a16:creationId xmlns:a16="http://schemas.microsoft.com/office/drawing/2014/main" id="{F0E9612F-F333-50BB-7BE5-A20A172E006D}"/>
              </a:ext>
            </a:extLst>
          </p:cNvPr>
          <p:cNvSpPr txBox="1">
            <a:spLocks/>
          </p:cNvSpPr>
          <p:nvPr/>
        </p:nvSpPr>
        <p:spPr>
          <a:xfrm>
            <a:off x="468627" y="671314"/>
            <a:ext cx="10698407" cy="4978458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0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tx2"/>
              </a:buClr>
            </a:pPr>
            <a:r>
              <a:rPr lang="en-US" sz="1600" b="1" dirty="0">
                <a:solidFill>
                  <a:srgbClr val="262626"/>
                </a:solidFill>
                <a:latin typeface="Helvetica" panose="020B0604020202020204" pitchFamily="34" charset="0"/>
              </a:rPr>
              <a:t>Basic Authentication(Username + Password)</a:t>
            </a:r>
          </a:p>
          <a:p>
            <a:pPr marL="285750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262626"/>
                </a:solidFill>
                <a:latin typeface="Helvetica" panose="020B0604020202020204" pitchFamily="34" charset="0"/>
              </a:rPr>
              <a:t>Credentials sent with every request</a:t>
            </a:r>
          </a:p>
          <a:p>
            <a:pPr marL="285750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262626"/>
                </a:solidFill>
                <a:latin typeface="Helvetica" panose="020B0604020202020204" pitchFamily="34" charset="0"/>
              </a:rPr>
              <a:t>Password exposed in base64(easily decoded)</a:t>
            </a:r>
          </a:p>
          <a:p>
            <a:pPr marL="285750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262626"/>
                </a:solidFill>
                <a:latin typeface="Helvetica" panose="020B0604020202020204" pitchFamily="34" charset="0"/>
              </a:rPr>
              <a:t>No granular permissions</a:t>
            </a:r>
          </a:p>
          <a:p>
            <a:pPr marL="285750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262626"/>
                </a:solidFill>
                <a:latin typeface="Helvetica" panose="020B0604020202020204" pitchFamily="34" charset="0"/>
              </a:rPr>
              <a:t>Difficult to revoke access</a:t>
            </a:r>
          </a:p>
          <a:p>
            <a:pPr>
              <a:buClr>
                <a:schemeClr val="tx2"/>
              </a:buClr>
            </a:pPr>
            <a:r>
              <a:rPr lang="en-US" sz="1600" b="1" dirty="0">
                <a:solidFill>
                  <a:srgbClr val="262626"/>
                </a:solidFill>
                <a:latin typeface="Helvetica" panose="020B0604020202020204" pitchFamily="34" charset="0"/>
              </a:rPr>
              <a:t>Session-Based Authentication(Cookies)</a:t>
            </a:r>
          </a:p>
          <a:p>
            <a:pPr marL="285750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262626"/>
                </a:solidFill>
                <a:latin typeface="Helvetica" panose="020B0604020202020204" pitchFamily="34" charset="0"/>
              </a:rPr>
              <a:t>Server must store session state (scalability issues)</a:t>
            </a:r>
          </a:p>
          <a:p>
            <a:pPr marL="285750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262626"/>
                </a:solidFill>
                <a:latin typeface="Helvetica" panose="020B0604020202020204" pitchFamily="34" charset="0"/>
              </a:rPr>
              <a:t>Difficult for mobile/SPA applications</a:t>
            </a:r>
          </a:p>
          <a:p>
            <a:pPr marL="285750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262626"/>
                </a:solidFill>
                <a:latin typeface="Helvetica" panose="020B0604020202020204" pitchFamily="34" charset="0"/>
              </a:rPr>
              <a:t>CSRF vulnerabilities</a:t>
            </a:r>
          </a:p>
          <a:p>
            <a:pPr marL="285750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262626"/>
                </a:solidFill>
                <a:latin typeface="Helvetica" panose="020B0604020202020204" pitchFamily="34" charset="0"/>
              </a:rPr>
              <a:t>Not suitable for microservices</a:t>
            </a:r>
          </a:p>
          <a:p>
            <a:pPr>
              <a:buClr>
                <a:schemeClr val="tx2"/>
              </a:buClr>
            </a:pPr>
            <a:r>
              <a:rPr lang="en-US" sz="1600" b="1" dirty="0">
                <a:solidFill>
                  <a:srgbClr val="262626"/>
                </a:solidFill>
                <a:latin typeface="Helvetica" panose="020B0604020202020204" pitchFamily="34" charset="0"/>
              </a:rPr>
              <a:t>LDAP/Active Directory</a:t>
            </a:r>
          </a:p>
          <a:p>
            <a:pPr marL="285750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262626"/>
                </a:solidFill>
                <a:latin typeface="Helvetica" panose="020B0604020202020204" pitchFamily="34" charset="0"/>
              </a:rPr>
              <a:t>On-premise infrastructure required</a:t>
            </a:r>
          </a:p>
          <a:p>
            <a:pPr marL="285750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262626"/>
                </a:solidFill>
                <a:latin typeface="Helvetica" panose="020B0604020202020204" pitchFamily="34" charset="0"/>
              </a:rPr>
              <a:t>Complex setup and maintenance</a:t>
            </a:r>
          </a:p>
          <a:p>
            <a:pPr marL="285750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262626"/>
                </a:solidFill>
                <a:latin typeface="Helvetica" panose="020B0604020202020204" pitchFamily="34" charset="0"/>
              </a:rPr>
              <a:t>Limited to internal networks</a:t>
            </a:r>
          </a:p>
          <a:p>
            <a:pPr marL="285750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262626"/>
                </a:solidFill>
                <a:latin typeface="Helvetica" panose="020B0604020202020204" pitchFamily="34" charset="0"/>
              </a:rPr>
              <a:t>Poor mobile/cloud support</a:t>
            </a:r>
          </a:p>
        </p:txBody>
      </p:sp>
    </p:spTree>
    <p:extLst>
      <p:ext uri="{BB962C8B-B14F-4D97-AF65-F5344CB8AC3E}">
        <p14:creationId xmlns:p14="http://schemas.microsoft.com/office/powerpoint/2010/main" val="361702182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9D02AC0-E676-4C81-A21D-5EA5F7847EE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2">
            <a:extLst>
              <a:ext uri="{FF2B5EF4-FFF2-40B4-BE49-F238E27FC236}">
                <a16:creationId xmlns:a16="http://schemas.microsoft.com/office/drawing/2014/main" id="{E3254C54-3198-3AFD-8472-E5C6F65956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4828" y="491165"/>
            <a:ext cx="10698405" cy="503999"/>
          </a:xfrm>
        </p:spPr>
        <p:txBody>
          <a:bodyPr vert="horz"/>
          <a:lstStyle/>
          <a:p>
            <a:r>
              <a:rPr lang="en-US" b="1" dirty="0"/>
              <a:t>Cons of Traditional Methods</a:t>
            </a:r>
          </a:p>
        </p:txBody>
      </p:sp>
      <p:sp>
        <p:nvSpPr>
          <p:cNvPr id="53" name="Footer Placeholder 2">
            <a:extLst>
              <a:ext uri="{FF2B5EF4-FFF2-40B4-BE49-F238E27FC236}">
                <a16:creationId xmlns:a16="http://schemas.microsoft.com/office/drawing/2014/main" id="{0995B902-C0D1-37C8-5EB0-9F209E6E3F7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2054" y="6453000"/>
            <a:ext cx="9326146" cy="32400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9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T-Systems India - Digital Solutions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BA98E5-46C3-FFDB-0727-F16C7BE1AE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1A5E10D-79A5-49BA-9648-53481340C65F}" type="slidenum">
              <a:rPr lang="de-DE" smtClean="0"/>
              <a:pPr/>
              <a:t>5</a:t>
            </a:fld>
            <a:endParaRPr lang="de-DE"/>
          </a:p>
        </p:txBody>
      </p:sp>
      <p:sp>
        <p:nvSpPr>
          <p:cNvPr id="11" name="Parallelogramm 5">
            <a:extLst>
              <a:ext uri="{FF2B5EF4-FFF2-40B4-BE49-F238E27FC236}">
                <a16:creationId xmlns:a16="http://schemas.microsoft.com/office/drawing/2014/main" id="{DA0786E0-7B73-8270-10F2-7D11CF85CC5A}"/>
              </a:ext>
            </a:extLst>
          </p:cNvPr>
          <p:cNvSpPr/>
          <p:nvPr>
            <p:custDataLst>
              <p:tags r:id="rId1"/>
            </p:custDataLst>
          </p:nvPr>
        </p:nvSpPr>
        <p:spPr bwMode="gray">
          <a:xfrm>
            <a:off x="-3319863" y="-2556012"/>
            <a:ext cx="11517123" cy="6858001"/>
          </a:xfrm>
          <a:prstGeom prst="parallelogram">
            <a:avLst>
              <a:gd name="adj" fmla="val 44978"/>
            </a:avLst>
          </a:prstGeom>
          <a:noFill/>
          <a:ln w="12700">
            <a:noFill/>
          </a:ln>
          <a:effectLst>
            <a:outerShdw blurRad="203200" sx="103000" sy="103000" algn="ctr" rotWithShape="0">
              <a:prstClr val="black">
                <a:alpha val="9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leNeo Office"/>
              <a:ea typeface="+mn-ea"/>
              <a:cs typeface="+mn-cs"/>
            </a:endParaRPr>
          </a:p>
        </p:txBody>
      </p:sp>
      <p:sp>
        <p:nvSpPr>
          <p:cNvPr id="13" name="Foliennummernplatzhalter 5">
            <a:extLst>
              <a:ext uri="{FF2B5EF4-FFF2-40B4-BE49-F238E27FC236}">
                <a16:creationId xmlns:a16="http://schemas.microsoft.com/office/drawing/2014/main" id="{E87EB8BE-7904-E858-6609-DDD1F8B1101C}"/>
              </a:ext>
            </a:extLst>
          </p:cNvPr>
          <p:cNvSpPr txBox="1">
            <a:spLocks/>
          </p:cNvSpPr>
          <p:nvPr/>
        </p:nvSpPr>
        <p:spPr bwMode="black">
          <a:xfrm>
            <a:off x="11442000" y="6453000"/>
            <a:ext cx="252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1A5E10D-79A5-49BA-9648-53481340C65F}" type="slidenum">
              <a:rPr lang="de-DE" smtClean="0">
                <a:solidFill>
                  <a:schemeClr val="bg1"/>
                </a:solidFill>
              </a:rPr>
              <a:pPr/>
              <a:t>5</a:t>
            </a:fld>
            <a:endParaRPr lang="de-DE">
              <a:solidFill>
                <a:schemeClr val="bg1"/>
              </a:solidFill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C983E84B-F382-B4FE-7ED9-07AF8AD75AE2}"/>
              </a:ext>
            </a:extLst>
          </p:cNvPr>
          <p:cNvSpPr txBox="1"/>
          <p:nvPr/>
        </p:nvSpPr>
        <p:spPr>
          <a:xfrm>
            <a:off x="9389327" y="5876693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144000" indent="-144000" algn="l"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</a:pPr>
            <a:endParaRPr lang="en-US" dirty="0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55B791E9-53E5-F2AA-AD81-C9F721F67987}"/>
              </a:ext>
            </a:extLst>
          </p:cNvPr>
          <p:cNvSpPr txBox="1"/>
          <p:nvPr/>
        </p:nvSpPr>
        <p:spPr>
          <a:xfrm>
            <a:off x="11140068" y="5787483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144000" indent="-144000" algn="l"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</a:pPr>
            <a:endParaRPr lang="en-US" dirty="0"/>
          </a:p>
        </p:txBody>
      </p:sp>
      <p:sp>
        <p:nvSpPr>
          <p:cNvPr id="2" name="Inhaltsplatzhalter 3">
            <a:extLst>
              <a:ext uri="{FF2B5EF4-FFF2-40B4-BE49-F238E27FC236}">
                <a16:creationId xmlns:a16="http://schemas.microsoft.com/office/drawing/2014/main" id="{039FB80E-10B9-6AAA-A081-2909D418258D}"/>
              </a:ext>
            </a:extLst>
          </p:cNvPr>
          <p:cNvSpPr txBox="1">
            <a:spLocks/>
          </p:cNvSpPr>
          <p:nvPr/>
        </p:nvSpPr>
        <p:spPr>
          <a:xfrm>
            <a:off x="411477" y="1388377"/>
            <a:ext cx="10698407" cy="564306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0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 eaLnBrk="0" hangingPunct="0">
              <a:spcBef>
                <a:spcPct val="0"/>
              </a:spcBef>
              <a:buClr>
                <a:schemeClr val="tx2"/>
              </a:buClr>
              <a:buFont typeface="+mj-lt"/>
              <a:buAutoNum type="arabicPeriod"/>
            </a:pPr>
            <a:endParaRPr lang="en-US" sz="1600" dirty="0">
              <a:latin typeface="TeleNeo Office" panose="020B0504040202090203" pitchFamily="34" charset="0"/>
              <a:cs typeface="Arial"/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D9BB86EF-6888-E967-4705-9A5ADFA99B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66350376"/>
              </p:ext>
            </p:extLst>
          </p:nvPr>
        </p:nvGraphicFramePr>
        <p:xfrm>
          <a:off x="544828" y="1767743"/>
          <a:ext cx="10896600" cy="4305891"/>
        </p:xfrm>
        <a:graphic>
          <a:graphicData uri="http://schemas.openxmlformats.org/drawingml/2006/table">
            <a:tbl>
              <a:tblPr/>
              <a:tblGrid>
                <a:gridCol w="2724150">
                  <a:extLst>
                    <a:ext uri="{9D8B030D-6E8A-4147-A177-3AD203B41FA5}">
                      <a16:colId xmlns:a16="http://schemas.microsoft.com/office/drawing/2014/main" val="4287446896"/>
                    </a:ext>
                  </a:extLst>
                </a:gridCol>
                <a:gridCol w="2724150">
                  <a:extLst>
                    <a:ext uri="{9D8B030D-6E8A-4147-A177-3AD203B41FA5}">
                      <a16:colId xmlns:a16="http://schemas.microsoft.com/office/drawing/2014/main" val="3151901811"/>
                    </a:ext>
                  </a:extLst>
                </a:gridCol>
                <a:gridCol w="2724150">
                  <a:extLst>
                    <a:ext uri="{9D8B030D-6E8A-4147-A177-3AD203B41FA5}">
                      <a16:colId xmlns:a16="http://schemas.microsoft.com/office/drawing/2014/main" val="3694203119"/>
                    </a:ext>
                  </a:extLst>
                </a:gridCol>
                <a:gridCol w="2724150">
                  <a:extLst>
                    <a:ext uri="{9D8B030D-6E8A-4147-A177-3AD203B41FA5}">
                      <a16:colId xmlns:a16="http://schemas.microsoft.com/office/drawing/2014/main" val="3324074888"/>
                    </a:ext>
                  </a:extLst>
                </a:gridCol>
              </a:tblGrid>
              <a:tr h="616779">
                <a:tc>
                  <a:txBody>
                    <a:bodyPr/>
                    <a:lstStyle/>
                    <a:p>
                      <a:r>
                        <a:rPr lang="en-US" sz="1600" b="1" dirty="0">
                          <a:effectLst/>
                        </a:rPr>
                        <a:t>Issue</a:t>
                      </a:r>
                    </a:p>
                  </a:txBody>
                  <a:tcPr marL="107721" marR="107721" marT="49717" marB="49717" anchor="ctr">
                    <a:lnL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1" dirty="0">
                          <a:effectLst/>
                        </a:rPr>
                        <a:t>Basic Auth</a:t>
                      </a:r>
                    </a:p>
                  </a:txBody>
                  <a:tcPr marL="107721" marR="107721" marT="49717" marB="49717" anchor="ctr">
                    <a:lnL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1">
                          <a:effectLst/>
                        </a:rPr>
                        <a:t>Session-Based</a:t>
                      </a:r>
                    </a:p>
                  </a:txBody>
                  <a:tcPr marL="107721" marR="107721" marT="49717" marB="49717" anchor="ctr">
                    <a:lnL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1">
                          <a:effectLst/>
                        </a:rPr>
                        <a:t>LDAP/AD</a:t>
                      </a:r>
                    </a:p>
                  </a:txBody>
                  <a:tcPr marL="107721" marR="107721" marT="49717" marB="49717" anchor="ctr">
                    <a:lnL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2030128"/>
                  </a:ext>
                </a:extLst>
              </a:tr>
              <a:tr h="561975">
                <a:tc>
                  <a:txBody>
                    <a:bodyPr/>
                    <a:lstStyle/>
                    <a:p>
                      <a:r>
                        <a:rPr lang="en-US" sz="1600" b="1">
                          <a:effectLst/>
                        </a:rPr>
                        <a:t>Scalability</a:t>
                      </a:r>
                      <a:endParaRPr lang="en-US" sz="1600">
                        <a:effectLst/>
                      </a:endParaRPr>
                    </a:p>
                  </a:txBody>
                  <a:tcPr marL="107721" marR="107721" marT="49717" marB="49717" anchor="ctr">
                    <a:lnL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effectLst/>
                        </a:rPr>
                        <a:t>❌ Poor</a:t>
                      </a:r>
                    </a:p>
                  </a:txBody>
                  <a:tcPr marL="107721" marR="107721" marT="49717" marB="49717" anchor="ctr">
                    <a:lnL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>
                          <a:effectLst/>
                        </a:rPr>
                        <a:t>❌ Stateful servers</a:t>
                      </a:r>
                    </a:p>
                  </a:txBody>
                  <a:tcPr marL="107721" marR="107721" marT="49717" marB="49717" anchor="ctr">
                    <a:lnL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>
                          <a:effectLst/>
                        </a:rPr>
                        <a:t>❌ Infrastructure heavy</a:t>
                      </a:r>
                    </a:p>
                  </a:txBody>
                  <a:tcPr marL="107721" marR="107721" marT="49717" marB="49717" anchor="ctr">
                    <a:lnL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13298680"/>
                  </a:ext>
                </a:extLst>
              </a:tr>
              <a:tr h="621646">
                <a:tc>
                  <a:txBody>
                    <a:bodyPr/>
                    <a:lstStyle/>
                    <a:p>
                      <a:r>
                        <a:rPr lang="en-US" sz="1600" b="1">
                          <a:effectLst/>
                        </a:rPr>
                        <a:t>Mobile Support</a:t>
                      </a:r>
                      <a:endParaRPr lang="en-US" sz="1600">
                        <a:effectLst/>
                      </a:endParaRPr>
                    </a:p>
                  </a:txBody>
                  <a:tcPr marL="107721" marR="107721" marT="49717" marB="49717" anchor="ctr">
                    <a:lnL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effectLst/>
                        </a:rPr>
                        <a:t>❌ Insecure</a:t>
                      </a:r>
                    </a:p>
                  </a:txBody>
                  <a:tcPr marL="107721" marR="107721" marT="49717" marB="49717" anchor="ctr">
                    <a:lnL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>
                          <a:effectLst/>
                        </a:rPr>
                        <a:t>⚠️ Limited</a:t>
                      </a:r>
                    </a:p>
                  </a:txBody>
                  <a:tcPr marL="107721" marR="107721" marT="49717" marB="49717" anchor="ctr">
                    <a:lnL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>
                          <a:effectLst/>
                        </a:rPr>
                        <a:t>❌ Complex</a:t>
                      </a:r>
                    </a:p>
                  </a:txBody>
                  <a:tcPr marL="107721" marR="107721" marT="49717" marB="49717" anchor="ctr">
                    <a:lnL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7916900"/>
                  </a:ext>
                </a:extLst>
              </a:tr>
              <a:tr h="621646">
                <a:tc>
                  <a:txBody>
                    <a:bodyPr/>
                    <a:lstStyle/>
                    <a:p>
                      <a:r>
                        <a:rPr lang="en-US" sz="1600" b="1">
                          <a:effectLst/>
                        </a:rPr>
                        <a:t>Third-party Access</a:t>
                      </a:r>
                      <a:endParaRPr lang="en-US" sz="1600">
                        <a:effectLst/>
                      </a:endParaRPr>
                    </a:p>
                  </a:txBody>
                  <a:tcPr marL="107721" marR="107721" marT="49717" marB="49717" anchor="ctr">
                    <a:lnL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>
                          <a:effectLst/>
                        </a:rPr>
                        <a:t>❌ Share passwords</a:t>
                      </a:r>
                    </a:p>
                  </a:txBody>
                  <a:tcPr marL="107721" marR="107721" marT="49717" marB="49717" anchor="ctr">
                    <a:lnL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>
                          <a:effectLst/>
                        </a:rPr>
                        <a:t>❌ Not possible</a:t>
                      </a:r>
                    </a:p>
                  </a:txBody>
                  <a:tcPr marL="107721" marR="107721" marT="49717" marB="49717" anchor="ctr">
                    <a:lnL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>
                          <a:effectLst/>
                        </a:rPr>
                        <a:t>❌ Not possible</a:t>
                      </a:r>
                    </a:p>
                  </a:txBody>
                  <a:tcPr marL="107721" marR="107721" marT="49717" marB="49717" anchor="ctr">
                    <a:lnL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1910519"/>
                  </a:ext>
                </a:extLst>
              </a:tr>
              <a:tr h="621646">
                <a:tc>
                  <a:txBody>
                    <a:bodyPr/>
                    <a:lstStyle/>
                    <a:p>
                      <a:r>
                        <a:rPr lang="en-US" sz="1600" b="1">
                          <a:effectLst/>
                        </a:rPr>
                        <a:t>Microservices</a:t>
                      </a:r>
                      <a:endParaRPr lang="en-US" sz="1600">
                        <a:effectLst/>
                      </a:endParaRPr>
                    </a:p>
                  </a:txBody>
                  <a:tcPr marL="107721" marR="107721" marT="49717" marB="49717" anchor="ctr">
                    <a:lnL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>
                          <a:effectLst/>
                        </a:rPr>
                        <a:t>❌ Not suitable</a:t>
                      </a:r>
                    </a:p>
                  </a:txBody>
                  <a:tcPr marL="107721" marR="107721" marT="49717" marB="49717" anchor="ctr">
                    <a:lnL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>
                          <a:effectLst/>
                        </a:rPr>
                        <a:t>❌ Session sync issues</a:t>
                      </a:r>
                    </a:p>
                  </a:txBody>
                  <a:tcPr marL="107721" marR="107721" marT="49717" marB="49717" anchor="ctr">
                    <a:lnL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>
                          <a:effectLst/>
                        </a:rPr>
                        <a:t>⚠️ Complex</a:t>
                      </a:r>
                    </a:p>
                  </a:txBody>
                  <a:tcPr marL="107721" marR="107721" marT="49717" marB="49717" anchor="ctr">
                    <a:lnL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6161588"/>
                  </a:ext>
                </a:extLst>
              </a:tr>
              <a:tr h="611562">
                <a:tc>
                  <a:txBody>
                    <a:bodyPr/>
                    <a:lstStyle/>
                    <a:p>
                      <a:r>
                        <a:rPr lang="en-US" sz="1600" b="1">
                          <a:effectLst/>
                        </a:rPr>
                        <a:t>Token Revocation</a:t>
                      </a:r>
                      <a:endParaRPr lang="en-US" sz="1600">
                        <a:effectLst/>
                      </a:endParaRPr>
                    </a:p>
                  </a:txBody>
                  <a:tcPr marL="107721" marR="107721" marT="49717" marB="49717" anchor="ctr">
                    <a:lnL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>
                          <a:effectLst/>
                        </a:rPr>
                        <a:t>❌ Must change password</a:t>
                      </a:r>
                    </a:p>
                  </a:txBody>
                  <a:tcPr marL="107721" marR="107721" marT="49717" marB="49717" anchor="ctr">
                    <a:lnL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>
                          <a:effectLst/>
                        </a:rPr>
                        <a:t>✅ Good</a:t>
                      </a:r>
                    </a:p>
                  </a:txBody>
                  <a:tcPr marL="107721" marR="107721" marT="49717" marB="49717" anchor="ctr">
                    <a:lnL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>
                          <a:effectLst/>
                        </a:rPr>
                        <a:t>⚠️ Delayed</a:t>
                      </a:r>
                    </a:p>
                  </a:txBody>
                  <a:tcPr marL="107721" marR="107721" marT="49717" marB="49717" anchor="ctr">
                    <a:lnL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87043228"/>
                  </a:ext>
                </a:extLst>
              </a:tr>
              <a:tr h="650637">
                <a:tc>
                  <a:txBody>
                    <a:bodyPr/>
                    <a:lstStyle/>
                    <a:p>
                      <a:r>
                        <a:rPr lang="en-US" sz="1600" b="1" dirty="0">
                          <a:effectLst/>
                        </a:rPr>
                        <a:t>API Access</a:t>
                      </a:r>
                      <a:endParaRPr lang="en-US" sz="1600" dirty="0">
                        <a:effectLst/>
                      </a:endParaRPr>
                    </a:p>
                  </a:txBody>
                  <a:tcPr marL="107721" marR="107721" marT="49717" marB="49717" anchor="ctr">
                    <a:lnL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>
                          <a:effectLst/>
                        </a:rPr>
                        <a:t>❌ Credentials exposed</a:t>
                      </a:r>
                    </a:p>
                  </a:txBody>
                  <a:tcPr marL="107721" marR="107721" marT="49717" marB="49717" anchor="ctr">
                    <a:lnL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effectLst/>
                        </a:rPr>
                        <a:t>❌ Cookie-based</a:t>
                      </a:r>
                    </a:p>
                  </a:txBody>
                  <a:tcPr marL="107721" marR="107721" marT="49717" marB="49717" anchor="ctr">
                    <a:lnL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effectLst/>
                        </a:rPr>
                        <a:t>❌ Complex</a:t>
                      </a:r>
                    </a:p>
                  </a:txBody>
                  <a:tcPr marL="107721" marR="107721" marT="49717" marB="49717" anchor="ctr">
                    <a:lnL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5034976"/>
                  </a:ext>
                </a:extLst>
              </a:tr>
            </a:tbl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3F678CE8-F4EB-002A-7C87-E841AF981DC5}"/>
              </a:ext>
            </a:extLst>
          </p:cNvPr>
          <p:cNvSpPr txBox="1"/>
          <p:nvPr/>
        </p:nvSpPr>
        <p:spPr>
          <a:xfrm>
            <a:off x="544828" y="1289399"/>
            <a:ext cx="780573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/>
              <a:t>Why Traditional Authentication Falls Short</a:t>
            </a:r>
          </a:p>
        </p:txBody>
      </p:sp>
    </p:spTree>
    <p:extLst>
      <p:ext uri="{BB962C8B-B14F-4D97-AF65-F5344CB8AC3E}">
        <p14:creationId xmlns:p14="http://schemas.microsoft.com/office/powerpoint/2010/main" val="209426938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98BB1C6-BBBD-1AE7-C14E-5287C351CA9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2">
            <a:extLst>
              <a:ext uri="{FF2B5EF4-FFF2-40B4-BE49-F238E27FC236}">
                <a16:creationId xmlns:a16="http://schemas.microsoft.com/office/drawing/2014/main" id="{9BC3D932-F3FC-2EE3-1B7D-5C98B0040E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4828" y="491165"/>
            <a:ext cx="10698405" cy="503999"/>
          </a:xfrm>
        </p:spPr>
        <p:txBody>
          <a:bodyPr vert="horz"/>
          <a:lstStyle/>
          <a:p>
            <a:r>
              <a:rPr lang="en-US" b="1" dirty="0"/>
              <a:t>Why OAuth2 and OIDC Are Better</a:t>
            </a:r>
          </a:p>
        </p:txBody>
      </p:sp>
      <p:sp>
        <p:nvSpPr>
          <p:cNvPr id="53" name="Footer Placeholder 2">
            <a:extLst>
              <a:ext uri="{FF2B5EF4-FFF2-40B4-BE49-F238E27FC236}">
                <a16:creationId xmlns:a16="http://schemas.microsoft.com/office/drawing/2014/main" id="{2C36FC96-DD14-8B6D-8F40-6F13EAECA7D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2054" y="6453000"/>
            <a:ext cx="9326146" cy="32400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9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T-Systems India - Digital Solutions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869127A-A8E1-57CD-1DB5-3A3C64B7BE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1A5E10D-79A5-49BA-9648-53481340C65F}" type="slidenum">
              <a:rPr lang="de-DE" smtClean="0"/>
              <a:pPr/>
              <a:t>6</a:t>
            </a:fld>
            <a:endParaRPr lang="de-DE"/>
          </a:p>
        </p:txBody>
      </p:sp>
      <p:sp>
        <p:nvSpPr>
          <p:cNvPr id="11" name="Parallelogramm 5">
            <a:extLst>
              <a:ext uri="{FF2B5EF4-FFF2-40B4-BE49-F238E27FC236}">
                <a16:creationId xmlns:a16="http://schemas.microsoft.com/office/drawing/2014/main" id="{F9A12634-CEAF-1854-C635-3482EEB1E77F}"/>
              </a:ext>
            </a:extLst>
          </p:cNvPr>
          <p:cNvSpPr/>
          <p:nvPr>
            <p:custDataLst>
              <p:tags r:id="rId1"/>
            </p:custDataLst>
          </p:nvPr>
        </p:nvSpPr>
        <p:spPr bwMode="gray">
          <a:xfrm>
            <a:off x="-3319863" y="-2556012"/>
            <a:ext cx="11517123" cy="6858001"/>
          </a:xfrm>
          <a:prstGeom prst="parallelogram">
            <a:avLst>
              <a:gd name="adj" fmla="val 44978"/>
            </a:avLst>
          </a:prstGeom>
          <a:noFill/>
          <a:ln w="12700">
            <a:noFill/>
          </a:ln>
          <a:effectLst>
            <a:outerShdw blurRad="203200" sx="103000" sy="103000" algn="ctr" rotWithShape="0">
              <a:prstClr val="black">
                <a:alpha val="9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leNeo Office"/>
              <a:ea typeface="+mn-ea"/>
              <a:cs typeface="+mn-cs"/>
            </a:endParaRPr>
          </a:p>
        </p:txBody>
      </p:sp>
      <p:sp>
        <p:nvSpPr>
          <p:cNvPr id="13" name="Foliennummernplatzhalter 5">
            <a:extLst>
              <a:ext uri="{FF2B5EF4-FFF2-40B4-BE49-F238E27FC236}">
                <a16:creationId xmlns:a16="http://schemas.microsoft.com/office/drawing/2014/main" id="{26730CE8-2964-ADE8-E830-39B1F3BB3364}"/>
              </a:ext>
            </a:extLst>
          </p:cNvPr>
          <p:cNvSpPr txBox="1">
            <a:spLocks/>
          </p:cNvSpPr>
          <p:nvPr/>
        </p:nvSpPr>
        <p:spPr bwMode="black">
          <a:xfrm>
            <a:off x="11442000" y="6453000"/>
            <a:ext cx="252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1A5E10D-79A5-49BA-9648-53481340C65F}" type="slidenum">
              <a:rPr lang="de-DE" smtClean="0">
                <a:solidFill>
                  <a:schemeClr val="bg1"/>
                </a:solidFill>
              </a:rPr>
              <a:pPr/>
              <a:t>6</a:t>
            </a:fld>
            <a:endParaRPr lang="de-DE">
              <a:solidFill>
                <a:schemeClr val="bg1"/>
              </a:solidFill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177FDB40-2AB9-E303-5C44-4277F47963B0}"/>
              </a:ext>
            </a:extLst>
          </p:cNvPr>
          <p:cNvSpPr txBox="1"/>
          <p:nvPr/>
        </p:nvSpPr>
        <p:spPr>
          <a:xfrm>
            <a:off x="9389327" y="5876693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144000" indent="-144000" algn="l"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</a:pPr>
            <a:endParaRPr lang="en-US" dirty="0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C389E946-0850-BBF8-60A7-29B2EDBE4394}"/>
              </a:ext>
            </a:extLst>
          </p:cNvPr>
          <p:cNvSpPr txBox="1"/>
          <p:nvPr/>
        </p:nvSpPr>
        <p:spPr>
          <a:xfrm>
            <a:off x="11140068" y="5787483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144000" indent="-144000" algn="l"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</a:pPr>
            <a:endParaRPr lang="en-US" dirty="0"/>
          </a:p>
        </p:txBody>
      </p:sp>
      <p:sp>
        <p:nvSpPr>
          <p:cNvPr id="2" name="Inhaltsplatzhalter 3">
            <a:extLst>
              <a:ext uri="{FF2B5EF4-FFF2-40B4-BE49-F238E27FC236}">
                <a16:creationId xmlns:a16="http://schemas.microsoft.com/office/drawing/2014/main" id="{1E0B90A4-7E3B-41BB-0094-B64B1463AF8D}"/>
              </a:ext>
            </a:extLst>
          </p:cNvPr>
          <p:cNvSpPr txBox="1">
            <a:spLocks/>
          </p:cNvSpPr>
          <p:nvPr/>
        </p:nvSpPr>
        <p:spPr>
          <a:xfrm>
            <a:off x="411477" y="1388377"/>
            <a:ext cx="10698407" cy="4888598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0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tx2"/>
              </a:buClr>
            </a:pPr>
            <a:r>
              <a:rPr lang="en-US" b="1" dirty="0">
                <a:latin typeface="TeleNeo Office" panose="020B0504040202090203" pitchFamily="34" charset="0"/>
                <a:cs typeface="Arial"/>
              </a:rPr>
              <a:t>Modern Token-Based Authentication</a:t>
            </a:r>
          </a:p>
          <a:p>
            <a:pPr>
              <a:buClr>
                <a:schemeClr val="tx2"/>
              </a:buClr>
            </a:pPr>
            <a:r>
              <a:rPr lang="en-US" b="1" dirty="0">
                <a:latin typeface="TeleNeo Office" panose="020B0504040202090203" pitchFamily="34" charset="0"/>
                <a:cs typeface="Arial"/>
              </a:rPr>
              <a:t>OAuth 2.0 (Authorization Framework)</a:t>
            </a:r>
          </a:p>
          <a:p>
            <a:pPr marL="285750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dirty="0">
                <a:latin typeface="TeleNeo Office" panose="020B0504040202090203" pitchFamily="34" charset="0"/>
                <a:cs typeface="Arial"/>
              </a:rPr>
              <a:t>Delegated Access: Grant access without sharing passwords</a:t>
            </a:r>
          </a:p>
          <a:p>
            <a:pPr marL="285750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dirty="0">
                <a:latin typeface="TeleNeo Office" panose="020B0504040202090203" pitchFamily="34" charset="0"/>
                <a:cs typeface="Arial"/>
              </a:rPr>
              <a:t>Tokens Instead of Credentials: Temporary, revocable access</a:t>
            </a:r>
          </a:p>
          <a:p>
            <a:pPr marL="285750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dirty="0">
                <a:latin typeface="TeleNeo Office" panose="020B0504040202090203" pitchFamily="34" charset="0"/>
                <a:cs typeface="Arial"/>
              </a:rPr>
              <a:t>Scope-Based Permissions: Fine-grained control</a:t>
            </a:r>
          </a:p>
          <a:p>
            <a:pPr marL="285750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dirty="0">
                <a:latin typeface="TeleNeo Office" panose="020B0504040202090203" pitchFamily="34" charset="0"/>
                <a:cs typeface="Arial"/>
              </a:rPr>
              <a:t>Industry Standard: Used by Google, Microsoft, GitHub, Facebook</a:t>
            </a:r>
          </a:p>
          <a:p>
            <a:pPr>
              <a:buClr>
                <a:schemeClr val="tx2"/>
              </a:buClr>
            </a:pPr>
            <a:endParaRPr lang="en-US" dirty="0">
              <a:latin typeface="TeleNeo Office" panose="020B0504040202090203" pitchFamily="34" charset="0"/>
              <a:cs typeface="Arial"/>
            </a:endParaRPr>
          </a:p>
          <a:p>
            <a:pPr>
              <a:buClr>
                <a:schemeClr val="tx2"/>
              </a:buClr>
            </a:pPr>
            <a:r>
              <a:rPr lang="en-US" b="1" dirty="0">
                <a:latin typeface="TeleNeo Office" panose="020B0504040202090203" pitchFamily="34" charset="0"/>
                <a:cs typeface="Arial"/>
              </a:rPr>
              <a:t>OpenID Connect (OIDC) - Authentication Layer on OAuth2</a:t>
            </a:r>
          </a:p>
          <a:p>
            <a:pPr marL="285750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dirty="0">
                <a:latin typeface="TeleNeo Office" panose="020B0504040202090203" pitchFamily="34" charset="0"/>
                <a:cs typeface="Arial"/>
              </a:rPr>
              <a:t>Identity Information: ID tokens with user claims</a:t>
            </a:r>
          </a:p>
          <a:p>
            <a:pPr marL="285750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dirty="0">
                <a:latin typeface="TeleNeo Office" panose="020B0504040202090203" pitchFamily="34" charset="0"/>
                <a:cs typeface="Arial"/>
              </a:rPr>
              <a:t>Single Sign-On (SSO): Login once, access multiple apps</a:t>
            </a:r>
          </a:p>
          <a:p>
            <a:pPr marL="285750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dirty="0">
                <a:latin typeface="TeleNeo Office" panose="020B0504040202090203" pitchFamily="34" charset="0"/>
                <a:cs typeface="Arial"/>
              </a:rPr>
              <a:t>Standardized Claims: Consistent user data format</a:t>
            </a:r>
          </a:p>
          <a:p>
            <a:pPr marL="285750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dirty="0">
                <a:latin typeface="TeleNeo Office" panose="020B0504040202090203" pitchFamily="34" charset="0"/>
                <a:cs typeface="Arial"/>
              </a:rPr>
              <a:t>Cryptographic Security: JWT tokens with signature verification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A769A570-5DFA-F6F1-A668-8BB420F6D2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56367158"/>
              </p:ext>
            </p:extLst>
          </p:nvPr>
        </p:nvGraphicFramePr>
        <p:xfrm>
          <a:off x="6880084" y="1091950"/>
          <a:ext cx="4967114" cy="5481452"/>
        </p:xfrm>
        <a:graphic>
          <a:graphicData uri="http://schemas.openxmlformats.org/drawingml/2006/table">
            <a:tbl>
              <a:tblPr/>
              <a:tblGrid>
                <a:gridCol w="2483557">
                  <a:extLst>
                    <a:ext uri="{9D8B030D-6E8A-4147-A177-3AD203B41FA5}">
                      <a16:colId xmlns:a16="http://schemas.microsoft.com/office/drawing/2014/main" val="2090924325"/>
                    </a:ext>
                  </a:extLst>
                </a:gridCol>
                <a:gridCol w="2483557">
                  <a:extLst>
                    <a:ext uri="{9D8B030D-6E8A-4147-A177-3AD203B41FA5}">
                      <a16:colId xmlns:a16="http://schemas.microsoft.com/office/drawing/2014/main" val="89166871"/>
                    </a:ext>
                  </a:extLst>
                </a:gridCol>
              </a:tblGrid>
              <a:tr h="315321">
                <a:tc>
                  <a:txBody>
                    <a:bodyPr/>
                    <a:lstStyle/>
                    <a:p>
                      <a:r>
                        <a:rPr lang="en-US" b="1" dirty="0">
                          <a:effectLst/>
                        </a:rPr>
                        <a:t>Benefit</a:t>
                      </a:r>
                    </a:p>
                  </a:txBody>
                  <a:tcPr marL="123825" marR="123825" marT="57150" marB="57150" anchor="ctr">
                    <a:lnL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b="1">
                          <a:effectLst/>
                        </a:rPr>
                        <a:t>Description</a:t>
                      </a:r>
                    </a:p>
                  </a:txBody>
                  <a:tcPr marL="123825" marR="123825" marT="57150" marB="57150" anchor="ctr">
                    <a:lnL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5318214"/>
                  </a:ext>
                </a:extLst>
              </a:tr>
              <a:tr h="760481">
                <a:tc>
                  <a:txBody>
                    <a:bodyPr/>
                    <a:lstStyle/>
                    <a:p>
                      <a:r>
                        <a:rPr lang="en-US" dirty="0">
                          <a:effectLst/>
                        </a:rPr>
                        <a:t>🔒 </a:t>
                      </a:r>
                      <a:r>
                        <a:rPr lang="en-US" b="1" dirty="0">
                          <a:effectLst/>
                        </a:rPr>
                        <a:t>Security</a:t>
                      </a:r>
                      <a:endParaRPr lang="en-US" dirty="0">
                        <a:effectLst/>
                      </a:endParaRPr>
                    </a:p>
                  </a:txBody>
                  <a:tcPr marL="123825" marR="123825" marT="57150" marB="57150" anchor="ctr">
                    <a:lnL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>
                          <a:effectLst/>
                        </a:rPr>
                        <a:t>Tokens expire automatically, can be revoked instantly</a:t>
                      </a:r>
                    </a:p>
                  </a:txBody>
                  <a:tcPr marL="123825" marR="123825" marT="57150" marB="57150" anchor="ctr">
                    <a:lnL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6346425"/>
                  </a:ext>
                </a:extLst>
              </a:tr>
              <a:tr h="760481">
                <a:tc>
                  <a:txBody>
                    <a:bodyPr/>
                    <a:lstStyle/>
                    <a:p>
                      <a:r>
                        <a:rPr lang="en-US" dirty="0">
                          <a:effectLst/>
                        </a:rPr>
                        <a:t>📱 </a:t>
                      </a:r>
                      <a:r>
                        <a:rPr lang="en-US" b="1" dirty="0">
                          <a:effectLst/>
                        </a:rPr>
                        <a:t>Mobile-Friendly</a:t>
                      </a:r>
                      <a:endParaRPr lang="en-US" dirty="0">
                        <a:effectLst/>
                      </a:endParaRPr>
                    </a:p>
                  </a:txBody>
                  <a:tcPr marL="123825" marR="123825" marT="57150" marB="57150" anchor="ctr">
                    <a:lnL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effectLst/>
                        </a:rPr>
                        <a:t>Native app support without storing passwords</a:t>
                      </a:r>
                    </a:p>
                  </a:txBody>
                  <a:tcPr marL="123825" marR="123825" marT="57150" marB="57150" anchor="ctr">
                    <a:lnL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325937"/>
                  </a:ext>
                </a:extLst>
              </a:tr>
              <a:tr h="671896">
                <a:tc>
                  <a:txBody>
                    <a:bodyPr/>
                    <a:lstStyle/>
                    <a:p>
                      <a:r>
                        <a:rPr lang="en-US" dirty="0">
                          <a:effectLst/>
                        </a:rPr>
                        <a:t>🌐 </a:t>
                      </a:r>
                      <a:r>
                        <a:rPr lang="en-US" b="1" dirty="0">
                          <a:effectLst/>
                        </a:rPr>
                        <a:t>Stateless</a:t>
                      </a:r>
                      <a:endParaRPr lang="en-US" dirty="0">
                        <a:effectLst/>
                      </a:endParaRPr>
                    </a:p>
                  </a:txBody>
                  <a:tcPr marL="123825" marR="123825" marT="57150" marB="57150" anchor="ctr">
                    <a:lnL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>
                          <a:effectLst/>
                        </a:rPr>
                        <a:t>No server-side session storage needed</a:t>
                      </a:r>
                    </a:p>
                  </a:txBody>
                  <a:tcPr marL="123825" marR="123825" marT="57150" marB="57150" anchor="ctr">
                    <a:lnL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49869152"/>
                  </a:ext>
                </a:extLst>
              </a:tr>
              <a:tr h="760481">
                <a:tc>
                  <a:txBody>
                    <a:bodyPr/>
                    <a:lstStyle/>
                    <a:p>
                      <a:r>
                        <a:rPr lang="en-US">
                          <a:effectLst/>
                        </a:rPr>
                        <a:t>🔄 </a:t>
                      </a:r>
                      <a:r>
                        <a:rPr lang="en-US" b="1">
                          <a:effectLst/>
                        </a:rPr>
                        <a:t>Scalability</a:t>
                      </a:r>
                      <a:endParaRPr lang="en-US">
                        <a:effectLst/>
                      </a:endParaRPr>
                    </a:p>
                  </a:txBody>
                  <a:tcPr marL="123825" marR="123825" marT="57150" marB="57150" anchor="ctr">
                    <a:lnL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>
                          <a:effectLst/>
                        </a:rPr>
                        <a:t>Works across distributed systems and microservices</a:t>
                      </a:r>
                    </a:p>
                  </a:txBody>
                  <a:tcPr marL="123825" marR="123825" marT="57150" marB="57150" anchor="ctr">
                    <a:lnL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9754365"/>
                  </a:ext>
                </a:extLst>
              </a:tr>
              <a:tr h="760481">
                <a:tc>
                  <a:txBody>
                    <a:bodyPr/>
                    <a:lstStyle/>
                    <a:p>
                      <a:r>
                        <a:rPr lang="en-US">
                          <a:effectLst/>
                        </a:rPr>
                        <a:t>🔌 </a:t>
                      </a:r>
                      <a:r>
                        <a:rPr lang="en-US" b="1">
                          <a:effectLst/>
                        </a:rPr>
                        <a:t>Integration</a:t>
                      </a:r>
                      <a:endParaRPr lang="en-US">
                        <a:effectLst/>
                      </a:endParaRPr>
                    </a:p>
                  </a:txBody>
                  <a:tcPr marL="123825" marR="123825" marT="57150" marB="57150" anchor="ctr">
                    <a:lnL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>
                          <a:effectLst/>
                        </a:rPr>
                        <a:t>Easy third-party app access without credential sharing</a:t>
                      </a:r>
                    </a:p>
                  </a:txBody>
                  <a:tcPr marL="123825" marR="123825" marT="57150" marB="57150" anchor="ctr">
                    <a:lnL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1071287"/>
                  </a:ext>
                </a:extLst>
              </a:tr>
              <a:tr h="671896">
                <a:tc>
                  <a:txBody>
                    <a:bodyPr/>
                    <a:lstStyle/>
                    <a:p>
                      <a:r>
                        <a:rPr lang="en-US">
                          <a:effectLst/>
                        </a:rPr>
                        <a:t>🎯 </a:t>
                      </a:r>
                      <a:r>
                        <a:rPr lang="en-US" b="1">
                          <a:effectLst/>
                        </a:rPr>
                        <a:t>Granular Control</a:t>
                      </a:r>
                      <a:endParaRPr lang="en-US">
                        <a:effectLst/>
                      </a:endParaRPr>
                    </a:p>
                  </a:txBody>
                  <a:tcPr marL="123825" marR="123825" marT="57150" marB="57150" anchor="ctr">
                    <a:lnL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effectLst/>
                        </a:rPr>
                        <a:t>Specific permissions via scopes and roles</a:t>
                      </a:r>
                    </a:p>
                  </a:txBody>
                  <a:tcPr marL="123825" marR="123825" marT="57150" marB="57150" anchor="ctr">
                    <a:lnL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EC5C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82035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600244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5645727-1883-E009-4135-6278D649D46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2">
            <a:extLst>
              <a:ext uri="{FF2B5EF4-FFF2-40B4-BE49-F238E27FC236}">
                <a16:creationId xmlns:a16="http://schemas.microsoft.com/office/drawing/2014/main" id="{73017902-BA85-2B2F-2821-54706FFA8E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4828" y="491165"/>
            <a:ext cx="10698405" cy="503999"/>
          </a:xfrm>
        </p:spPr>
        <p:txBody>
          <a:bodyPr vert="horz"/>
          <a:lstStyle/>
          <a:p>
            <a:r>
              <a:rPr lang="en-US" b="1" dirty="0"/>
              <a:t>Delegated Authorization with OAuth 2.0</a:t>
            </a:r>
          </a:p>
        </p:txBody>
      </p:sp>
      <p:sp>
        <p:nvSpPr>
          <p:cNvPr id="53" name="Footer Placeholder 2">
            <a:extLst>
              <a:ext uri="{FF2B5EF4-FFF2-40B4-BE49-F238E27FC236}">
                <a16:creationId xmlns:a16="http://schemas.microsoft.com/office/drawing/2014/main" id="{AE8E6EB0-9AF7-A65E-1B14-B7EFC2B151C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2054" y="6453000"/>
            <a:ext cx="9326146" cy="32400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9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T-Systems India - Digital Solutions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7389F5C-610F-BD03-C6B4-5EC113637E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1A5E10D-79A5-49BA-9648-53481340C65F}" type="slidenum">
              <a:rPr lang="de-DE" smtClean="0"/>
              <a:pPr/>
              <a:t>7</a:t>
            </a:fld>
            <a:endParaRPr lang="de-DE"/>
          </a:p>
        </p:txBody>
      </p:sp>
      <p:sp>
        <p:nvSpPr>
          <p:cNvPr id="13" name="Foliennummernplatzhalter 5">
            <a:extLst>
              <a:ext uri="{FF2B5EF4-FFF2-40B4-BE49-F238E27FC236}">
                <a16:creationId xmlns:a16="http://schemas.microsoft.com/office/drawing/2014/main" id="{0263A772-729D-FA8C-9B52-96B7F239A96B}"/>
              </a:ext>
            </a:extLst>
          </p:cNvPr>
          <p:cNvSpPr txBox="1">
            <a:spLocks/>
          </p:cNvSpPr>
          <p:nvPr/>
        </p:nvSpPr>
        <p:spPr bwMode="black">
          <a:xfrm>
            <a:off x="11442000" y="6453000"/>
            <a:ext cx="252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1A5E10D-79A5-49BA-9648-53481340C65F}" type="slidenum">
              <a:rPr lang="de-DE" smtClean="0">
                <a:solidFill>
                  <a:schemeClr val="bg1"/>
                </a:solidFill>
              </a:rPr>
              <a:pPr/>
              <a:t>7</a:t>
            </a:fld>
            <a:endParaRPr lang="de-DE">
              <a:solidFill>
                <a:schemeClr val="bg1"/>
              </a:solidFill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9FA15A4C-A6B1-B59D-F709-904C209745D7}"/>
              </a:ext>
            </a:extLst>
          </p:cNvPr>
          <p:cNvSpPr txBox="1"/>
          <p:nvPr/>
        </p:nvSpPr>
        <p:spPr>
          <a:xfrm>
            <a:off x="9389327" y="5876693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144000" indent="-144000" algn="l"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</a:pPr>
            <a:endParaRPr lang="en-US" dirty="0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86ECC585-B771-5D4D-9826-6819F84F8AB3}"/>
              </a:ext>
            </a:extLst>
          </p:cNvPr>
          <p:cNvSpPr txBox="1"/>
          <p:nvPr/>
        </p:nvSpPr>
        <p:spPr>
          <a:xfrm>
            <a:off x="11140068" y="5787483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144000" indent="-144000" algn="l"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</a:pPr>
            <a:endParaRPr lang="en-US" dirty="0"/>
          </a:p>
        </p:txBody>
      </p:sp>
      <p:sp>
        <p:nvSpPr>
          <p:cNvPr id="2" name="Inhaltsplatzhalter 3">
            <a:extLst>
              <a:ext uri="{FF2B5EF4-FFF2-40B4-BE49-F238E27FC236}">
                <a16:creationId xmlns:a16="http://schemas.microsoft.com/office/drawing/2014/main" id="{DBD9827E-2478-4FBF-6347-95CC637E38B4}"/>
              </a:ext>
            </a:extLst>
          </p:cNvPr>
          <p:cNvSpPr txBox="1">
            <a:spLocks/>
          </p:cNvSpPr>
          <p:nvPr/>
        </p:nvSpPr>
        <p:spPr>
          <a:xfrm>
            <a:off x="392427" y="1132145"/>
            <a:ext cx="11548469" cy="518387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0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Clr>
                <a:schemeClr val="tx2"/>
              </a:buClr>
              <a:buFont typeface="+mj-lt"/>
              <a:buAutoNum type="arabicPeriod"/>
            </a:pPr>
            <a:endParaRPr lang="en-US" dirty="0">
              <a:latin typeface="TeleNeo Office" panose="020B0504040202090203" pitchFamily="34" charset="0"/>
              <a:cs typeface="Arial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37870B0-7260-5D96-17DB-31E080D79866}"/>
              </a:ext>
            </a:extLst>
          </p:cNvPr>
          <p:cNvSpPr txBox="1"/>
          <p:nvPr/>
        </p:nvSpPr>
        <p:spPr>
          <a:xfrm>
            <a:off x="392428" y="1097688"/>
            <a:ext cx="5884548" cy="469359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900"/>
              </a:spcAft>
              <a:buClr>
                <a:schemeClr val="tx2"/>
              </a:buClr>
            </a:pPr>
            <a:r>
              <a:rPr lang="en-US" sz="1600" b="1" dirty="0">
                <a:latin typeface="TeleNeo Office" panose="020B0504040202090203" pitchFamily="34" charset="0"/>
                <a:cs typeface="Arial"/>
              </a:rPr>
              <a:t>What is Delegated Authorization?</a:t>
            </a:r>
          </a:p>
          <a:p>
            <a:pPr>
              <a:spcAft>
                <a:spcPts val="900"/>
              </a:spcAft>
              <a:buClr>
                <a:schemeClr val="tx2"/>
              </a:buClr>
            </a:pPr>
            <a:r>
              <a:rPr lang="en-US" sz="1600" b="1" dirty="0">
                <a:latin typeface="TeleNeo Office" panose="020B0504040202090203" pitchFamily="34" charset="0"/>
                <a:cs typeface="Arial"/>
              </a:rPr>
              <a:t>Problem: </a:t>
            </a:r>
          </a:p>
          <a:p>
            <a:pPr>
              <a:spcAft>
                <a:spcPts val="900"/>
              </a:spcAft>
              <a:buClr>
                <a:schemeClr val="tx2"/>
              </a:buClr>
            </a:pPr>
            <a:r>
              <a:rPr lang="en-US" sz="1600" dirty="0">
                <a:latin typeface="TeleNeo Office" panose="020B0504040202090203" pitchFamily="34" charset="0"/>
                <a:cs typeface="Arial"/>
              </a:rPr>
              <a:t>How can I let a website access my data without giving them my password?</a:t>
            </a:r>
          </a:p>
          <a:p>
            <a:pPr>
              <a:spcAft>
                <a:spcPts val="900"/>
              </a:spcAft>
              <a:buClr>
                <a:schemeClr val="tx2"/>
              </a:buClr>
            </a:pPr>
            <a:r>
              <a:rPr lang="en-US" sz="1600" b="1" dirty="0">
                <a:latin typeface="TeleNeo Office" panose="020B0504040202090203" pitchFamily="34" charset="0"/>
                <a:cs typeface="Arial"/>
              </a:rPr>
              <a:t>Real-World Example:</a:t>
            </a:r>
          </a:p>
          <a:p>
            <a:pPr>
              <a:spcAft>
                <a:spcPts val="900"/>
              </a:spcAft>
              <a:buClr>
                <a:schemeClr val="tx2"/>
              </a:buClr>
            </a:pPr>
            <a:r>
              <a:rPr lang="en-US" sz="1600" b="1" dirty="0">
                <a:latin typeface="TeleNeo Office" panose="020B0504040202090203" pitchFamily="34" charset="0"/>
                <a:cs typeface="Arial"/>
              </a:rPr>
              <a:t>🏨 Hotel Analogy:</a:t>
            </a:r>
          </a:p>
          <a:p>
            <a:pPr marL="285750" indent="-285750">
              <a:spcAft>
                <a:spcPts val="9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latin typeface="TeleNeo Office" panose="020B0504040202090203" pitchFamily="34" charset="0"/>
                <a:cs typeface="Arial"/>
              </a:rPr>
              <a:t>You (Resource Owner) give a key card (Access Token) to valet (Client)</a:t>
            </a:r>
          </a:p>
          <a:p>
            <a:pPr marL="285750" indent="-285750">
              <a:spcAft>
                <a:spcPts val="9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latin typeface="TeleNeo Office" panose="020B0504040202090203" pitchFamily="34" charset="0"/>
                <a:cs typeface="Arial"/>
              </a:rPr>
              <a:t>Key card only opens parking garage (Scope), not your room</a:t>
            </a:r>
          </a:p>
          <a:p>
            <a:pPr marL="285750" indent="-285750">
              <a:spcAft>
                <a:spcPts val="9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latin typeface="TeleNeo Office" panose="020B0504040202090203" pitchFamily="34" charset="0"/>
                <a:cs typeface="Arial"/>
              </a:rPr>
              <a:t>Hotel (Authorization Server) issues the key card</a:t>
            </a:r>
          </a:p>
          <a:p>
            <a:pPr marL="285750" indent="-285750">
              <a:spcAft>
                <a:spcPts val="9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latin typeface="TeleNeo Office" panose="020B0504040202090203" pitchFamily="34" charset="0"/>
                <a:cs typeface="Arial"/>
              </a:rPr>
              <a:t>Key card expires after checkout (Token Expiration)</a:t>
            </a:r>
          </a:p>
          <a:p>
            <a:pPr>
              <a:spcAft>
                <a:spcPts val="900"/>
              </a:spcAft>
              <a:buClr>
                <a:schemeClr val="tx2"/>
              </a:buClr>
            </a:pPr>
            <a:r>
              <a:rPr lang="en-US" sz="1600" b="1" dirty="0">
                <a:latin typeface="TeleNeo Office" panose="020B0504040202090203" pitchFamily="34" charset="0"/>
                <a:cs typeface="Arial"/>
              </a:rPr>
              <a:t>OAuth 2.0 = Authorization Framework</a:t>
            </a:r>
          </a:p>
          <a:p>
            <a:pPr>
              <a:spcAft>
                <a:spcPts val="900"/>
              </a:spcAft>
              <a:buClr>
                <a:schemeClr val="tx2"/>
              </a:buClr>
            </a:pPr>
            <a:r>
              <a:rPr lang="en-US" sz="1600" dirty="0">
                <a:latin typeface="TeleNeo Office" panose="020B0504040202090203" pitchFamily="34" charset="0"/>
                <a:cs typeface="Arial"/>
              </a:rPr>
              <a:t>Key Principle: Grant limited access to resources without sharing credential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10F01D9-FB76-46DB-6189-6217420AC9C0}"/>
              </a:ext>
            </a:extLst>
          </p:cNvPr>
          <p:cNvSpPr txBox="1"/>
          <p:nvPr/>
        </p:nvSpPr>
        <p:spPr>
          <a:xfrm>
            <a:off x="6166661" y="1132145"/>
            <a:ext cx="6143624" cy="227754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b="1" dirty="0"/>
              <a:t>Why Delegated Authorization?</a:t>
            </a:r>
          </a:p>
          <a:p>
            <a:endParaRPr lang="en-US" sz="1600" b="1" dirty="0"/>
          </a:p>
          <a:p>
            <a:pPr>
              <a:spcAft>
                <a:spcPts val="900"/>
              </a:spcAft>
              <a:buClr>
                <a:schemeClr val="tx2"/>
              </a:buClr>
            </a:pPr>
            <a:r>
              <a:rPr lang="en-US" sz="1600" dirty="0">
                <a:latin typeface="TeleNeo Office" panose="020B0504040202090203" pitchFamily="34" charset="0"/>
                <a:cs typeface="Arial"/>
              </a:rPr>
              <a:t>✅ No Password Sharing: Third-party apps never see your credentials</a:t>
            </a:r>
          </a:p>
          <a:p>
            <a:pPr>
              <a:spcAft>
                <a:spcPts val="900"/>
              </a:spcAft>
              <a:buClr>
                <a:schemeClr val="tx2"/>
              </a:buClr>
            </a:pPr>
            <a:r>
              <a:rPr lang="en-US" sz="1600" dirty="0">
                <a:latin typeface="TeleNeo Office" panose="020B0504040202090203" pitchFamily="34" charset="0"/>
                <a:cs typeface="Arial"/>
              </a:rPr>
              <a:t>✅ Limited Scope: Grant specific permissions only (read repos, not delete)</a:t>
            </a:r>
          </a:p>
          <a:p>
            <a:pPr>
              <a:spcAft>
                <a:spcPts val="900"/>
              </a:spcAft>
              <a:buClr>
                <a:schemeClr val="tx2"/>
              </a:buClr>
            </a:pPr>
            <a:r>
              <a:rPr lang="en-US" sz="1600" dirty="0">
                <a:latin typeface="TeleNeo Office" panose="020B0504040202090203" pitchFamily="34" charset="0"/>
                <a:cs typeface="Arial"/>
              </a:rPr>
              <a:t>✅ Revocable: Cancel access anytime without changing password</a:t>
            </a:r>
          </a:p>
          <a:p>
            <a:pPr>
              <a:spcAft>
                <a:spcPts val="900"/>
              </a:spcAft>
              <a:buClr>
                <a:schemeClr val="tx2"/>
              </a:buClr>
            </a:pPr>
            <a:r>
              <a:rPr lang="en-US" sz="1600" dirty="0">
                <a:latin typeface="TeleNeo Office" panose="020B0504040202090203" pitchFamily="34" charset="0"/>
                <a:cs typeface="Arial"/>
              </a:rPr>
              <a:t>✅ Audit Trail: See which apps have access to your data</a:t>
            </a:r>
          </a:p>
          <a:p>
            <a:pPr>
              <a:spcAft>
                <a:spcPts val="900"/>
              </a:spcAft>
              <a:buClr>
                <a:schemeClr val="tx2"/>
              </a:buClr>
            </a:pPr>
            <a:r>
              <a:rPr lang="en-US" sz="1600" dirty="0">
                <a:latin typeface="TeleNeo Office" panose="020B0504040202090203" pitchFamily="34" charset="0"/>
                <a:cs typeface="Arial"/>
              </a:rPr>
              <a:t>✅ Temporary Access: Tokens expire automatically</a:t>
            </a:r>
          </a:p>
        </p:txBody>
      </p:sp>
    </p:spTree>
    <p:extLst>
      <p:ext uri="{BB962C8B-B14F-4D97-AF65-F5344CB8AC3E}">
        <p14:creationId xmlns:p14="http://schemas.microsoft.com/office/powerpoint/2010/main" val="145890901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0D717C2-8469-3A0F-C959-FC19DE9E8FC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2">
            <a:extLst>
              <a:ext uri="{FF2B5EF4-FFF2-40B4-BE49-F238E27FC236}">
                <a16:creationId xmlns:a16="http://schemas.microsoft.com/office/drawing/2014/main" id="{9394BB9C-475B-5675-35BD-8A8A3B2C3C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4828" y="491165"/>
            <a:ext cx="10698405" cy="503999"/>
          </a:xfrm>
        </p:spPr>
        <p:txBody>
          <a:bodyPr vert="horz"/>
          <a:lstStyle/>
          <a:p>
            <a:r>
              <a:rPr lang="en-US" b="1" dirty="0"/>
              <a:t>OAuth 2.0 Terminology &amp; Code Mapping</a:t>
            </a:r>
          </a:p>
        </p:txBody>
      </p:sp>
      <p:sp>
        <p:nvSpPr>
          <p:cNvPr id="53" name="Footer Placeholder 2">
            <a:extLst>
              <a:ext uri="{FF2B5EF4-FFF2-40B4-BE49-F238E27FC236}">
                <a16:creationId xmlns:a16="http://schemas.microsoft.com/office/drawing/2014/main" id="{8EFD3E54-B1DC-5B31-9EEA-3BB304862D0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2054" y="6453000"/>
            <a:ext cx="9326146" cy="32400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9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T-Systems India - Digital Solutions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0754025-59A4-A86D-840B-84B6EC7733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1A5E10D-79A5-49BA-9648-53481340C65F}" type="slidenum">
              <a:rPr lang="de-DE" smtClean="0"/>
              <a:pPr/>
              <a:t>8</a:t>
            </a:fld>
            <a:endParaRPr lang="de-DE"/>
          </a:p>
        </p:txBody>
      </p:sp>
      <p:sp>
        <p:nvSpPr>
          <p:cNvPr id="11" name="Parallelogramm 5">
            <a:extLst>
              <a:ext uri="{FF2B5EF4-FFF2-40B4-BE49-F238E27FC236}">
                <a16:creationId xmlns:a16="http://schemas.microsoft.com/office/drawing/2014/main" id="{CBC9AC30-20DB-C221-14A7-10C97612A9FD}"/>
              </a:ext>
            </a:extLst>
          </p:cNvPr>
          <p:cNvSpPr/>
          <p:nvPr>
            <p:custDataLst>
              <p:tags r:id="rId1"/>
            </p:custDataLst>
          </p:nvPr>
        </p:nvSpPr>
        <p:spPr bwMode="gray">
          <a:xfrm>
            <a:off x="-3319863" y="-2556012"/>
            <a:ext cx="11517123" cy="6858001"/>
          </a:xfrm>
          <a:prstGeom prst="parallelogram">
            <a:avLst>
              <a:gd name="adj" fmla="val 44978"/>
            </a:avLst>
          </a:prstGeom>
          <a:noFill/>
          <a:ln w="12700">
            <a:noFill/>
          </a:ln>
          <a:effectLst>
            <a:outerShdw blurRad="203200" sx="103000" sy="103000" algn="ctr" rotWithShape="0">
              <a:prstClr val="black">
                <a:alpha val="9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leNeo Office"/>
              <a:ea typeface="+mn-ea"/>
              <a:cs typeface="+mn-cs"/>
            </a:endParaRPr>
          </a:p>
        </p:txBody>
      </p:sp>
      <p:sp>
        <p:nvSpPr>
          <p:cNvPr id="13" name="Foliennummernplatzhalter 5">
            <a:extLst>
              <a:ext uri="{FF2B5EF4-FFF2-40B4-BE49-F238E27FC236}">
                <a16:creationId xmlns:a16="http://schemas.microsoft.com/office/drawing/2014/main" id="{B9B858DF-CC31-E4C2-E1A8-88C6253AE1FF}"/>
              </a:ext>
            </a:extLst>
          </p:cNvPr>
          <p:cNvSpPr txBox="1">
            <a:spLocks/>
          </p:cNvSpPr>
          <p:nvPr/>
        </p:nvSpPr>
        <p:spPr bwMode="black">
          <a:xfrm>
            <a:off x="11442000" y="6453000"/>
            <a:ext cx="252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1A5E10D-79A5-49BA-9648-53481340C65F}" type="slidenum">
              <a:rPr lang="de-DE" smtClean="0">
                <a:solidFill>
                  <a:schemeClr val="bg1"/>
                </a:solidFill>
              </a:rPr>
              <a:pPr/>
              <a:t>8</a:t>
            </a:fld>
            <a:endParaRPr lang="de-DE">
              <a:solidFill>
                <a:schemeClr val="bg1"/>
              </a:solidFill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BD313285-1B7F-3AF7-3427-57E0E72F415F}"/>
              </a:ext>
            </a:extLst>
          </p:cNvPr>
          <p:cNvSpPr txBox="1"/>
          <p:nvPr/>
        </p:nvSpPr>
        <p:spPr>
          <a:xfrm>
            <a:off x="11140068" y="5787483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144000" indent="-144000" algn="l"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</a:pPr>
            <a:endParaRPr lang="en-US" dirty="0"/>
          </a:p>
        </p:txBody>
      </p:sp>
      <p:sp>
        <p:nvSpPr>
          <p:cNvPr id="49" name="Text Placeholder 117">
            <a:extLst>
              <a:ext uri="{FF2B5EF4-FFF2-40B4-BE49-F238E27FC236}">
                <a16:creationId xmlns:a16="http://schemas.microsoft.com/office/drawing/2014/main" id="{1531138F-E81E-CDD7-7091-3567A5805A58}"/>
              </a:ext>
            </a:extLst>
          </p:cNvPr>
          <p:cNvSpPr txBox="1">
            <a:spLocks/>
          </p:cNvSpPr>
          <p:nvPr/>
        </p:nvSpPr>
        <p:spPr>
          <a:xfrm>
            <a:off x="7713948" y="3401892"/>
            <a:ext cx="3642251" cy="920854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marL="0" indent="0" algn="r" defTabSz="914400" rtl="0" eaLnBrk="1" latinLnBrk="0" hangingPunct="1">
              <a:lnSpc>
                <a:spcPct val="120000"/>
              </a:lnSpc>
              <a:spcBef>
                <a:spcPts val="1000"/>
              </a:spcBef>
              <a:buClr>
                <a:schemeClr val="accent1"/>
              </a:buClr>
              <a:buSzPct val="100000"/>
              <a:buFontTx/>
              <a:buNone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+mn-lt"/>
                <a:ea typeface="+mn-ea"/>
                <a:cs typeface="Calibri Light" panose="020F0302020204030204" pitchFamily="34" charset="0"/>
              </a:defRPr>
            </a:lvl1pPr>
            <a:lvl2pPr marL="685800" indent="-228600" algn="r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 kern="1200" cap="none" baseline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+mn-lt"/>
                <a:ea typeface="+mn-ea"/>
                <a:cs typeface="Calibri Light" panose="020F0302020204030204" pitchFamily="34" charset="0"/>
              </a:defRPr>
            </a:lvl2pPr>
            <a:lvl3pPr marL="1143000" indent="-228600" algn="r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tx1">
                  <a:lumMod val="50000"/>
                  <a:lumOff val="50000"/>
                </a:schemeClr>
              </a:buClr>
              <a:buSzPct val="100000"/>
              <a:buFont typeface="Arial" panose="020B0604020202020204" pitchFamily="34" charset="0"/>
              <a:buChar char="•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+mn-lt"/>
                <a:ea typeface="+mn-ea"/>
                <a:cs typeface="Calibri Light" panose="020F0302020204030204" pitchFamily="34" charset="0"/>
              </a:defRPr>
            </a:lvl3pPr>
            <a:lvl4pPr marL="1600200" indent="-228600" algn="r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tx1">
                  <a:lumMod val="50000"/>
                  <a:lumOff val="50000"/>
                </a:schemeClr>
              </a:buClr>
              <a:buSzPct val="100000"/>
              <a:buFont typeface="Courier New" panose="02070309020205020404" pitchFamily="49" charset="0"/>
              <a:buChar char="o"/>
              <a:defRPr sz="1200" kern="1200" cap="none" baseline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+mn-lt"/>
                <a:ea typeface="+mn-ea"/>
                <a:cs typeface="Calibri Light" panose="020F0302020204030204" pitchFamily="34" charset="0"/>
              </a:defRPr>
            </a:lvl4pPr>
            <a:lvl5pPr marL="2057400" indent="-228600" algn="r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tx1">
                  <a:lumMod val="50000"/>
                  <a:lumOff val="50000"/>
                </a:schemeClr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+mn-lt"/>
                <a:ea typeface="+mn-ea"/>
                <a:cs typeface="Calibri Light" panose="020F0302020204030204" pitchFamily="34" charset="0"/>
              </a:defRPr>
            </a:lvl5pPr>
            <a:lvl6pPr marL="25146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endParaRPr lang="en-US" sz="1400">
              <a:solidFill>
                <a:schemeClr val="tx1"/>
              </a:solidFill>
              <a:ea typeface="+mn-lt"/>
              <a:cs typeface="+mn-lt"/>
            </a:endParaRP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8FEFA5F9-D267-838B-7705-4BD295833F4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36050673"/>
              </p:ext>
            </p:extLst>
          </p:nvPr>
        </p:nvGraphicFramePr>
        <p:xfrm>
          <a:off x="544828" y="1651000"/>
          <a:ext cx="11066464" cy="4206240"/>
        </p:xfrm>
        <a:graphic>
          <a:graphicData uri="http://schemas.openxmlformats.org/drawingml/2006/table">
            <a:tbl>
              <a:tblPr/>
              <a:tblGrid>
                <a:gridCol w="2766616">
                  <a:extLst>
                    <a:ext uri="{9D8B030D-6E8A-4147-A177-3AD203B41FA5}">
                      <a16:colId xmlns:a16="http://schemas.microsoft.com/office/drawing/2014/main" val="1596574835"/>
                    </a:ext>
                  </a:extLst>
                </a:gridCol>
                <a:gridCol w="2766616">
                  <a:extLst>
                    <a:ext uri="{9D8B030D-6E8A-4147-A177-3AD203B41FA5}">
                      <a16:colId xmlns:a16="http://schemas.microsoft.com/office/drawing/2014/main" val="941255535"/>
                    </a:ext>
                  </a:extLst>
                </a:gridCol>
                <a:gridCol w="2766616">
                  <a:extLst>
                    <a:ext uri="{9D8B030D-6E8A-4147-A177-3AD203B41FA5}">
                      <a16:colId xmlns:a16="http://schemas.microsoft.com/office/drawing/2014/main" val="2161063316"/>
                    </a:ext>
                  </a:extLst>
                </a:gridCol>
                <a:gridCol w="2766616">
                  <a:extLst>
                    <a:ext uri="{9D8B030D-6E8A-4147-A177-3AD203B41FA5}">
                      <a16:colId xmlns:a16="http://schemas.microsoft.com/office/drawing/2014/main" val="3661172732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r>
                        <a:rPr lang="en-US" sz="1800" b="1">
                          <a:effectLst/>
                        </a:rPr>
                        <a:t>Term</a:t>
                      </a:r>
                      <a:endParaRPr lang="en-US" sz="1800">
                        <a:effectLst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1" dirty="0">
                          <a:effectLst/>
                        </a:rPr>
                        <a:t>Definition</a:t>
                      </a:r>
                      <a:endParaRPr lang="en-US" sz="1800" dirty="0">
                        <a:effectLst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1">
                          <a:effectLst/>
                        </a:rPr>
                        <a:t>In Our Project</a:t>
                      </a:r>
                      <a:endParaRPr lang="en-US" sz="1800">
                        <a:effectLst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1" dirty="0">
                          <a:effectLst/>
                        </a:rPr>
                        <a:t>Code Location</a:t>
                      </a:r>
                      <a:endParaRPr lang="en-US" sz="1800" dirty="0">
                        <a:effectLst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0839986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r>
                        <a:rPr lang="en-US" sz="1800" b="1">
                          <a:effectLst/>
                        </a:rPr>
                        <a:t>Resource Owner</a:t>
                      </a:r>
                      <a:endParaRPr lang="en-US" sz="1800">
                        <a:effectLst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effectLst/>
                        </a:rPr>
                        <a:t>The user who owns the protected data</a:t>
                      </a:r>
                    </a:p>
                  </a:txBody>
                  <a:tcPr anchor="ctr">
                    <a:lnL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>
                          <a:effectLst/>
                        </a:rPr>
                        <a:t>GitHub/Azure user (You)</a:t>
                      </a:r>
                    </a:p>
                  </a:txBody>
                  <a:tcPr anchor="ctr">
                    <a:lnL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>
                          <a:effectLst/>
                        </a:rPr>
                        <a:t>user_info["id"]</a:t>
                      </a:r>
                    </a:p>
                  </a:txBody>
                  <a:tcPr anchor="ctr">
                    <a:lnL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98579806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r>
                        <a:rPr lang="en-US" sz="1800" b="1">
                          <a:effectLst/>
                        </a:rPr>
                        <a:t>Client</a:t>
                      </a:r>
                      <a:endParaRPr lang="en-US" sz="1800">
                        <a:effectLst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>
                          <a:effectLst/>
                        </a:rPr>
                        <a:t>The application requesting access</a:t>
                      </a:r>
                    </a:p>
                  </a:txBody>
                  <a:tcPr anchor="ctr">
                    <a:lnL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>
                          <a:effectLst/>
                        </a:rPr>
                        <a:t>Our FastAPI Application</a:t>
                      </a:r>
                    </a:p>
                  </a:txBody>
                  <a:tcPr anchor="ctr">
                    <a:lnL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>
                          <a:effectLst/>
                        </a:rPr>
                        <a:t>GITHUB_CLIENT_ID in config</a:t>
                      </a:r>
                    </a:p>
                  </a:txBody>
                  <a:tcPr anchor="ctr">
                    <a:lnL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9458800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r>
                        <a:rPr lang="en-US" sz="1800" b="1">
                          <a:effectLst/>
                        </a:rPr>
                        <a:t>Authorization Server</a:t>
                      </a:r>
                      <a:endParaRPr lang="en-US" sz="1800">
                        <a:effectLst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>
                          <a:effectLst/>
                        </a:rPr>
                        <a:t>Issues tokens after authenticating the user</a:t>
                      </a:r>
                    </a:p>
                  </a:txBody>
                  <a:tcPr anchor="ctr">
                    <a:lnL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>
                          <a:effectLst/>
                        </a:rPr>
                        <a:t>GitHub OAuth, Azure AD</a:t>
                      </a:r>
                    </a:p>
                  </a:txBody>
                  <a:tcPr anchor="ctr">
                    <a:lnL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>
                          <a:effectLst/>
                        </a:rPr>
                        <a:t>github.com, login.microsoftonline.com</a:t>
                      </a:r>
                    </a:p>
                  </a:txBody>
                  <a:tcPr anchor="ctr">
                    <a:lnL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07924580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r>
                        <a:rPr lang="en-US" sz="1800" b="1">
                          <a:effectLst/>
                        </a:rPr>
                        <a:t>Resource Server</a:t>
                      </a:r>
                      <a:endParaRPr lang="en-US" sz="1800">
                        <a:effectLst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>
                          <a:effectLst/>
                        </a:rPr>
                        <a:t>Hosts the protected resources</a:t>
                      </a:r>
                    </a:p>
                  </a:txBody>
                  <a:tcPr anchor="ctr">
                    <a:lnL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>
                          <a:effectLst/>
                        </a:rPr>
                        <a:t>GitHub API, Microsoft Graph</a:t>
                      </a:r>
                    </a:p>
                  </a:txBody>
                  <a:tcPr anchor="ctr">
                    <a:lnL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>
                          <a:effectLst/>
                        </a:rPr>
                        <a:t>api.github.com, graph.microsoft.com</a:t>
                      </a:r>
                    </a:p>
                  </a:txBody>
                  <a:tcPr anchor="ctr">
                    <a:lnL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7623336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r>
                        <a:rPr lang="en-US" sz="1800" b="1">
                          <a:effectLst/>
                        </a:rPr>
                        <a:t>Authorization Grant</a:t>
                      </a:r>
                      <a:endParaRPr lang="en-US" sz="1800">
                        <a:effectLst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>
                          <a:effectLst/>
                        </a:rPr>
                        <a:t>Credential representing user consent</a:t>
                      </a:r>
                    </a:p>
                  </a:txBody>
                  <a:tcPr anchor="ctr">
                    <a:lnL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effectLst/>
                        </a:rPr>
                        <a:t>Authorization Code</a:t>
                      </a:r>
                    </a:p>
                  </a:txBody>
                  <a:tcPr anchor="ctr">
                    <a:lnL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>
                          <a:effectLst/>
                        </a:rPr>
                        <a:t>code parameter in callback</a:t>
                      </a:r>
                    </a:p>
                  </a:txBody>
                  <a:tcPr anchor="ctr">
                    <a:lnL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04454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r>
                        <a:rPr lang="en-US" sz="1800" b="1">
                          <a:effectLst/>
                        </a:rPr>
                        <a:t>Access Token</a:t>
                      </a:r>
                      <a:endParaRPr lang="en-US" sz="1800">
                        <a:effectLst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effectLst/>
                        </a:rPr>
                        <a:t>Key used to access protected resources</a:t>
                      </a:r>
                    </a:p>
                  </a:txBody>
                  <a:tcPr anchor="ctr">
                    <a:lnL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>
                          <a:effectLst/>
                        </a:rPr>
                        <a:t>Token from provider</a:t>
                      </a:r>
                    </a:p>
                  </a:txBody>
                  <a:tcPr anchor="ctr">
                    <a:lnL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effectLst/>
                        </a:rPr>
                        <a:t>tokens["</a:t>
                      </a:r>
                      <a:r>
                        <a:rPr lang="en-US" sz="1800" dirty="0" err="1">
                          <a:effectLst/>
                        </a:rPr>
                        <a:t>access_token</a:t>
                      </a:r>
                      <a:r>
                        <a:rPr lang="en-US" sz="1800" dirty="0">
                          <a:effectLst/>
                        </a:rPr>
                        <a:t>"]</a:t>
                      </a:r>
                    </a:p>
                  </a:txBody>
                  <a:tcPr anchor="ctr">
                    <a:lnL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37666134"/>
                  </a:ext>
                </a:extLst>
              </a:tr>
            </a:tbl>
          </a:graphicData>
        </a:graphic>
      </p:graphicFrame>
      <p:sp>
        <p:nvSpPr>
          <p:cNvPr id="14" name="TextBox 13">
            <a:extLst>
              <a:ext uri="{FF2B5EF4-FFF2-40B4-BE49-F238E27FC236}">
                <a16:creationId xmlns:a16="http://schemas.microsoft.com/office/drawing/2014/main" id="{DD4A09C9-1575-7597-60C6-D81FFBFC19DA}"/>
              </a:ext>
            </a:extLst>
          </p:cNvPr>
          <p:cNvSpPr txBox="1"/>
          <p:nvPr/>
        </p:nvSpPr>
        <p:spPr>
          <a:xfrm>
            <a:off x="544828" y="1218791"/>
            <a:ext cx="780573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/>
              <a:t>OAuth 2.0 Core Entities</a:t>
            </a:r>
          </a:p>
        </p:txBody>
      </p:sp>
    </p:spTree>
    <p:extLst>
      <p:ext uri="{BB962C8B-B14F-4D97-AF65-F5344CB8AC3E}">
        <p14:creationId xmlns:p14="http://schemas.microsoft.com/office/powerpoint/2010/main" val="381003156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ABCF6FB-9B0A-3484-8217-AB542BE070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2">
            <a:extLst>
              <a:ext uri="{FF2B5EF4-FFF2-40B4-BE49-F238E27FC236}">
                <a16:creationId xmlns:a16="http://schemas.microsoft.com/office/drawing/2014/main" id="{CA4DB6E8-0153-3F7A-9C30-F671E4D916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4828" y="177441"/>
            <a:ext cx="10698405" cy="503999"/>
          </a:xfrm>
        </p:spPr>
        <p:txBody>
          <a:bodyPr vert="horz"/>
          <a:lstStyle/>
          <a:p>
            <a:r>
              <a:rPr lang="en-US" b="1" dirty="0"/>
              <a:t>How OAuth2 Works - Authorization Flow</a:t>
            </a:r>
          </a:p>
        </p:txBody>
      </p:sp>
      <p:sp>
        <p:nvSpPr>
          <p:cNvPr id="53" name="Footer Placeholder 2">
            <a:extLst>
              <a:ext uri="{FF2B5EF4-FFF2-40B4-BE49-F238E27FC236}">
                <a16:creationId xmlns:a16="http://schemas.microsoft.com/office/drawing/2014/main" id="{393709F8-0803-A408-7BCA-EDECB49D846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2054" y="6453000"/>
            <a:ext cx="9326146" cy="32400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9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T-Systems India - Digital Solutions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0313D90-A02A-811A-B1A3-0EE70C9C68E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1A5E10D-79A5-49BA-9648-53481340C65F}" type="slidenum">
              <a:rPr lang="de-DE" smtClean="0"/>
              <a:pPr/>
              <a:t>9</a:t>
            </a:fld>
            <a:endParaRPr lang="de-DE"/>
          </a:p>
        </p:txBody>
      </p:sp>
      <p:sp>
        <p:nvSpPr>
          <p:cNvPr id="11" name="Parallelogramm 5">
            <a:extLst>
              <a:ext uri="{FF2B5EF4-FFF2-40B4-BE49-F238E27FC236}">
                <a16:creationId xmlns:a16="http://schemas.microsoft.com/office/drawing/2014/main" id="{6D71E902-2674-5598-539A-EC6037F60850}"/>
              </a:ext>
            </a:extLst>
          </p:cNvPr>
          <p:cNvSpPr/>
          <p:nvPr>
            <p:custDataLst>
              <p:tags r:id="rId1"/>
            </p:custDataLst>
          </p:nvPr>
        </p:nvSpPr>
        <p:spPr bwMode="gray">
          <a:xfrm>
            <a:off x="-3319863" y="-2556012"/>
            <a:ext cx="11517123" cy="6858001"/>
          </a:xfrm>
          <a:prstGeom prst="parallelogram">
            <a:avLst>
              <a:gd name="adj" fmla="val 44978"/>
            </a:avLst>
          </a:prstGeom>
          <a:noFill/>
          <a:ln w="12700">
            <a:noFill/>
          </a:ln>
          <a:effectLst>
            <a:outerShdw blurRad="203200" sx="103000" sy="103000" algn="ctr" rotWithShape="0">
              <a:prstClr val="black">
                <a:alpha val="9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leNeo Office"/>
              <a:ea typeface="+mn-ea"/>
              <a:cs typeface="+mn-cs"/>
            </a:endParaRPr>
          </a:p>
        </p:txBody>
      </p:sp>
      <p:sp>
        <p:nvSpPr>
          <p:cNvPr id="13" name="Foliennummernplatzhalter 5">
            <a:extLst>
              <a:ext uri="{FF2B5EF4-FFF2-40B4-BE49-F238E27FC236}">
                <a16:creationId xmlns:a16="http://schemas.microsoft.com/office/drawing/2014/main" id="{F2642E94-B1C1-E5DB-1F83-E327BD3F383E}"/>
              </a:ext>
            </a:extLst>
          </p:cNvPr>
          <p:cNvSpPr txBox="1">
            <a:spLocks/>
          </p:cNvSpPr>
          <p:nvPr/>
        </p:nvSpPr>
        <p:spPr bwMode="black">
          <a:xfrm>
            <a:off x="11442000" y="6453000"/>
            <a:ext cx="252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1A5E10D-79A5-49BA-9648-53481340C65F}" type="slidenum">
              <a:rPr lang="de-DE" smtClean="0">
                <a:solidFill>
                  <a:schemeClr val="bg1"/>
                </a:solidFill>
              </a:rPr>
              <a:pPr/>
              <a:t>9</a:t>
            </a:fld>
            <a:endParaRPr lang="de-DE">
              <a:solidFill>
                <a:schemeClr val="bg1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41914E1-321B-1245-892F-046798F50DE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4828" y="681440"/>
            <a:ext cx="10897172" cy="5771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85785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heme/theme1.xml><?xml version="1.0" encoding="utf-8"?>
<a:theme xmlns:a="http://schemas.openxmlformats.org/drawingml/2006/main" name="T-Systems 2023 DE">
  <a:themeElements>
    <a:clrScheme name="T-Systems">
      <a:dk1>
        <a:srgbClr val="000000"/>
      </a:dk1>
      <a:lt1>
        <a:srgbClr val="FFFFFF"/>
      </a:lt1>
      <a:dk2>
        <a:srgbClr val="E20074"/>
      </a:dk2>
      <a:lt2>
        <a:srgbClr val="A3A3A3"/>
      </a:lt2>
      <a:accent1>
        <a:srgbClr val="1BADA2"/>
      </a:accent1>
      <a:accent2>
        <a:srgbClr val="53BAF2"/>
      </a:accent2>
      <a:accent3>
        <a:srgbClr val="FF9A1E"/>
      </a:accent3>
      <a:accent4>
        <a:srgbClr val="FFD328"/>
      </a:accent4>
      <a:accent5>
        <a:srgbClr val="1063AD"/>
      </a:accent5>
      <a:accent6>
        <a:srgbClr val="BFCB44"/>
      </a:accent6>
      <a:hlink>
        <a:srgbClr val="1062AC"/>
      </a:hlink>
      <a:folHlink>
        <a:srgbClr val="1062AC"/>
      </a:folHlink>
    </a:clrScheme>
    <a:fontScheme name="Deutsche Telekom Liquid Master">
      <a:majorFont>
        <a:latin typeface="TeleNeo Office ExtraBold"/>
        <a:ea typeface=""/>
        <a:cs typeface=""/>
      </a:majorFont>
      <a:minorFont>
        <a:latin typeface="TeleNeo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2700">
          <a:noFill/>
        </a:ln>
      </a:spPr>
      <a:bodyPr lIns="72000" tIns="72000" rIns="72000" bIns="72000"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marL="144000" indent="-144000" algn="l">
          <a:buClr>
            <a:schemeClr val="tx2"/>
          </a:buClr>
          <a:buSzPct val="100000"/>
          <a:buFont typeface="TeleNeo Office" panose="020B0504040202090203" pitchFamily="34" charset="0"/>
          <a:buChar char="•"/>
          <a:defRPr smtClean="0"/>
        </a:defPPr>
      </a:lstStyle>
    </a:txDef>
  </a:objectDefaults>
  <a:extraClrSchemeLst/>
  <a:custClrLst>
    <a:custClr name="Smaragd">
      <a:srgbClr val="078C82"/>
    </a:custClr>
    <a:custClr name="Ozean">
      <a:srgbClr val="5AB4C8"/>
    </a:custClr>
    <a:custClr name="Cappuccino">
      <a:srgbClr val="BD968C"/>
    </a:custClr>
    <a:custClr name="Curry">
      <a:srgbClr val="C8B45A"/>
    </a:custClr>
    <a:custClr name="Jeans">
      <a:srgbClr val="0478BE"/>
    </a:custClr>
    <a:custClr name="Aubergine">
      <a:srgbClr val="3C325A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  <a:custClr name="Mint">
      <a:srgbClr val="86CBC4"/>
    </a:custClr>
    <a:custClr name="Himmel">
      <a:srgbClr val="CBE8F4"/>
    </a:custClr>
    <a:custClr name="Pfirsich">
      <a:srgbClr val="FAE2D8"/>
    </a:custClr>
    <a:custClr name="Vanille">
      <a:srgbClr val="F5EBAF"/>
    </a:custClr>
    <a:custClr name="Azur">
      <a:srgbClr val="45C1F1"/>
    </a:custClr>
    <a:custClr name="Flieder">
      <a:srgbClr val="9C9BB9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  <a:custClr name="Grau 38">
      <a:srgbClr val="262626"/>
    </a:custClr>
    <a:custClr name="Grau 75">
      <a:srgbClr val="4B4B4B"/>
    </a:custClr>
    <a:custClr name="Grau 115">
      <a:srgbClr val="737373"/>
    </a:custClr>
    <a:custClr name="Grau 178">
      <a:srgbClr val="B2B2B2"/>
    </a:custClr>
    <a:custClr name="Grau 220">
      <a:srgbClr val="DCDCDC"/>
    </a:custClr>
    <a:custClr name="Leer">
      <a:srgbClr val="FFFFFF"/>
    </a:custClr>
    <a:custClr name="Leer">
      <a:srgbClr val="FFFFFF"/>
    </a:custClr>
    <a:custClr name="Rot">
      <a:srgbClr val="D90000"/>
    </a:custClr>
    <a:custClr name="Gelb">
      <a:srgbClr val="FECB00"/>
    </a:custClr>
    <a:custClr name="Grün">
      <a:srgbClr val="46A800"/>
    </a:custClr>
  </a:custClrLst>
  <a:extLst>
    <a:ext uri="{05A4C25C-085E-4340-85A3-A5531E510DB2}">
      <thm15:themeFamily xmlns:thm15="http://schemas.microsoft.com/office/thememl/2012/main" name="TSY_PPT_Master 2023_DE_AW1.pptx" id="{49B5DEE7-E5D7-425A-9300-A4BBBA8B90CA}" vid="{547C4335-F855-4749-AA2D-FA2120B0E7F3}"/>
    </a:ext>
  </a:extLst>
</a:theme>
</file>

<file path=ppt/theme/theme2.xml><?xml version="1.0" encoding="utf-8"?>
<a:theme xmlns:a="http://schemas.openxmlformats.org/drawingml/2006/main" name="Office">
  <a:themeElements>
    <a:clrScheme name="Telekom Liquid Master">
      <a:dk1>
        <a:sysClr val="windowText" lastClr="000000"/>
      </a:dk1>
      <a:lt1>
        <a:sysClr val="window" lastClr="FFFFFF"/>
      </a:lt1>
      <a:dk2>
        <a:srgbClr val="E20074"/>
      </a:dk2>
      <a:lt2>
        <a:srgbClr val="A3A3A3"/>
      </a:lt2>
      <a:accent1>
        <a:srgbClr val="32B9AF"/>
      </a:accent1>
      <a:accent2>
        <a:srgbClr val="A4DEEE"/>
      </a:accent2>
      <a:accent3>
        <a:srgbClr val="ECCCBF"/>
      </a:accent3>
      <a:accent4>
        <a:srgbClr val="F0E68C"/>
      </a:accent4>
      <a:accent5>
        <a:srgbClr val="00A8E6"/>
      </a:accent5>
      <a:accent6>
        <a:srgbClr val="6E648C"/>
      </a:accent6>
      <a:hlink>
        <a:srgbClr val="00739F"/>
      </a:hlink>
      <a:folHlink>
        <a:srgbClr val="00739F"/>
      </a:folHlink>
    </a:clrScheme>
    <a:fontScheme name="Deutsche Telekom Liquid Master">
      <a:majorFont>
        <a:latin typeface="TeleNeo Office ExtraBold"/>
        <a:ea typeface=""/>
        <a:cs typeface=""/>
      </a:majorFont>
      <a:minorFont>
        <a:latin typeface="TeleNeo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lIns="0" tIns="0" rIns="0" bIns="0"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marL="144000" indent="-144000" algn="l">
          <a:buClr>
            <a:schemeClr val="tx2"/>
          </a:buClr>
          <a:buSzPct val="100000"/>
          <a:buFont typeface="TeleNeo Office" panose="020B0504040202090203" pitchFamily="34" charset="0"/>
          <a:buChar char="•"/>
          <a:defRPr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Telekom Liquid Master">
      <a:dk1>
        <a:sysClr val="windowText" lastClr="000000"/>
      </a:dk1>
      <a:lt1>
        <a:sysClr val="window" lastClr="FFFFFF"/>
      </a:lt1>
      <a:dk2>
        <a:srgbClr val="E20074"/>
      </a:dk2>
      <a:lt2>
        <a:srgbClr val="A3A3A3"/>
      </a:lt2>
      <a:accent1>
        <a:srgbClr val="32B9AF"/>
      </a:accent1>
      <a:accent2>
        <a:srgbClr val="A4DEEE"/>
      </a:accent2>
      <a:accent3>
        <a:srgbClr val="ECCCBF"/>
      </a:accent3>
      <a:accent4>
        <a:srgbClr val="F0E68C"/>
      </a:accent4>
      <a:accent5>
        <a:srgbClr val="00A8E6"/>
      </a:accent5>
      <a:accent6>
        <a:srgbClr val="6E648C"/>
      </a:accent6>
      <a:hlink>
        <a:srgbClr val="00739F"/>
      </a:hlink>
      <a:folHlink>
        <a:srgbClr val="00739F"/>
      </a:folHlink>
    </a:clrScheme>
    <a:fontScheme name="Deutsche Telekom Liquid Master">
      <a:majorFont>
        <a:latin typeface="TeleNeo Office ExtraBold"/>
        <a:ea typeface=""/>
        <a:cs typeface=""/>
      </a:majorFont>
      <a:minorFont>
        <a:latin typeface="TeleNeo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lIns="0" tIns="0" rIns="0" bIns="0"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marL="144000" indent="-144000" algn="l">
          <a:buClr>
            <a:schemeClr val="tx2"/>
          </a:buClr>
          <a:buSzPct val="100000"/>
          <a:buFont typeface="TeleNeo Office" panose="020B0504040202090203" pitchFamily="34" charset="0"/>
          <a:buChar char="•"/>
          <a:defRPr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T-Systems">
    <a:dk1>
      <a:srgbClr val="000000"/>
    </a:dk1>
    <a:lt1>
      <a:srgbClr val="FFFFFF"/>
    </a:lt1>
    <a:dk2>
      <a:srgbClr val="E20074"/>
    </a:dk2>
    <a:lt2>
      <a:srgbClr val="A3A3A3"/>
    </a:lt2>
    <a:accent1>
      <a:srgbClr val="1BADA2"/>
    </a:accent1>
    <a:accent2>
      <a:srgbClr val="53BAF2"/>
    </a:accent2>
    <a:accent3>
      <a:srgbClr val="FF9A1E"/>
    </a:accent3>
    <a:accent4>
      <a:srgbClr val="FFD328"/>
    </a:accent4>
    <a:accent5>
      <a:srgbClr val="1063AD"/>
    </a:accent5>
    <a:accent6>
      <a:srgbClr val="BFCB44"/>
    </a:accent6>
    <a:hlink>
      <a:srgbClr val="1062AC"/>
    </a:hlink>
    <a:folHlink>
      <a:srgbClr val="1062AC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e3cd0d41-a12c-4f5d-a4bb-c68dbe1e6247">
      <Terms xmlns="http://schemas.microsoft.com/office/infopath/2007/PartnerControls"/>
    </lcf76f155ced4ddcb4097134ff3c332f>
    <TaxCatchAll xmlns="a336c0f8-09a0-4458-9ea8-e8ce773b2bef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BE66D2E6551D5499F1BB2B2F78F7BDE" ma:contentTypeVersion="15" ma:contentTypeDescription="Create a new document." ma:contentTypeScope="" ma:versionID="476eb463bfbdb26f75be8a16ad5214cc">
  <xsd:schema xmlns:xsd="http://www.w3.org/2001/XMLSchema" xmlns:xs="http://www.w3.org/2001/XMLSchema" xmlns:p="http://schemas.microsoft.com/office/2006/metadata/properties" xmlns:ns2="e3cd0d41-a12c-4f5d-a4bb-c68dbe1e6247" xmlns:ns3="a336c0f8-09a0-4458-9ea8-e8ce773b2bef" targetNamespace="http://schemas.microsoft.com/office/2006/metadata/properties" ma:root="true" ma:fieldsID="88b9530967a0718a0d350c96470fb560" ns2:_="" ns3:_="">
    <xsd:import namespace="e3cd0d41-a12c-4f5d-a4bb-c68dbe1e6247"/>
    <xsd:import namespace="a336c0f8-09a0-4458-9ea8-e8ce773b2be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Location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3cd0d41-a12c-4f5d-a4bb-c68dbe1e624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16" nillable="true" ma:displayName="Location" ma:indexed="true" ma:internalName="MediaServiceLocation" ma:readOnly="true">
      <xsd:simpleType>
        <xsd:restriction base="dms:Text"/>
      </xsd:simpleType>
    </xsd:element>
    <xsd:element name="lcf76f155ced4ddcb4097134ff3c332f" ma:index="18" nillable="true" ma:taxonomy="true" ma:internalName="lcf76f155ced4ddcb4097134ff3c332f" ma:taxonomyFieldName="MediaServiceImageTags" ma:displayName="Image Tags" ma:readOnly="false" ma:fieldId="{5cf76f15-5ced-4ddc-b409-7134ff3c332f}" ma:taxonomyMulti="true" ma:sspId="55a6c181-b3a6-4e6d-958a-84db063416a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336c0f8-09a0-4458-9ea8-e8ce773b2bef" elementFormDefault="qualified">
    <xsd:import namespace="http://schemas.microsoft.com/office/2006/documentManagement/types"/>
    <xsd:import namespace="http://schemas.microsoft.com/office/infopath/2007/PartnerControls"/>
    <xsd:element name="TaxCatchAll" ma:index="19" nillable="true" ma:displayName="Taxonomy Catch All Column" ma:hidden="true" ma:list="{a7704587-d628-4416-962f-ea44c2dc89f5}" ma:internalName="TaxCatchAll" ma:showField="CatchAllData" ma:web="a336c0f8-09a0-4458-9ea8-e8ce773b2be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E6CAA0B-1927-48F2-95AC-6D77670F2B4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75993BD-6241-4F53-9BB4-47B74FE44C67}">
  <ds:schemaRefs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http://www.w3.org/XML/1998/namespace"/>
    <ds:schemaRef ds:uri="cbd61123-b473-46bb-9246-a4b4eb9f5cf1"/>
    <ds:schemaRef ds:uri="http://schemas.microsoft.com/office/infopath/2007/PartnerControls"/>
    <ds:schemaRef ds:uri="http://purl.org/dc/dcmitype/"/>
    <ds:schemaRef ds:uri="http://purl.org/dc/terms/"/>
    <ds:schemaRef ds:uri="e3cd0d41-a12c-4f5d-a4bb-c68dbe1e6247"/>
    <ds:schemaRef ds:uri="a336c0f8-09a0-4458-9ea8-e8ce773b2bef"/>
  </ds:schemaRefs>
</ds:datastoreItem>
</file>

<file path=customXml/itemProps3.xml><?xml version="1.0" encoding="utf-8"?>
<ds:datastoreItem xmlns:ds="http://schemas.openxmlformats.org/officeDocument/2006/customXml" ds:itemID="{3AB4806D-05A7-49BD-9B37-C638F4EE395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3cd0d41-a12c-4f5d-a4bb-c68dbe1e6247"/>
    <ds:schemaRef ds:uri="a336c0f8-09a0-4458-9ea8-e8ce773b2be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bde4dffc-4b60-4cf6-8b04-a5eeb25f5c4f}" enabled="0" method="" siteId="{bde4dffc-4b60-4cf6-8b04-a5eeb25f5c4f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092</Words>
  <Application>Microsoft Office PowerPoint</Application>
  <PresentationFormat>Widescreen</PresentationFormat>
  <Paragraphs>242</Paragraphs>
  <Slides>16</Slides>
  <Notes>1</Notes>
  <HiddenSlides>0</HiddenSlides>
  <MMClips>0</MMClips>
  <ScaleCrop>false</ScaleCrop>
  <HeadingPairs>
    <vt:vector size="10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  <vt:variant>
        <vt:lpstr>Custom Shows</vt:lpstr>
      </vt:variant>
      <vt:variant>
        <vt:i4>1</vt:i4>
      </vt:variant>
    </vt:vector>
  </HeadingPairs>
  <TitlesOfParts>
    <vt:vector size="24" baseType="lpstr">
      <vt:lpstr>Arial</vt:lpstr>
      <vt:lpstr>TeleNeo Thin</vt:lpstr>
      <vt:lpstr>TeleNeo Office ExtraBold</vt:lpstr>
      <vt:lpstr>Helvetica</vt:lpstr>
      <vt:lpstr>TeleNeo Office</vt:lpstr>
      <vt:lpstr>T-Systems 2023 DE</vt:lpstr>
      <vt:lpstr>think-cell Slide</vt:lpstr>
      <vt:lpstr>PowerPoint Presentation</vt:lpstr>
      <vt:lpstr>Agenda</vt:lpstr>
      <vt:lpstr>What is Authentication &amp; Authorization?</vt:lpstr>
      <vt:lpstr>Old Ways of Authentication</vt:lpstr>
      <vt:lpstr>Cons of Traditional Methods</vt:lpstr>
      <vt:lpstr>Why OAuth2 and OIDC Are Better</vt:lpstr>
      <vt:lpstr>Delegated Authorization with OAuth 2.0</vt:lpstr>
      <vt:lpstr>OAuth 2.0 Terminology &amp; Code Mapping</vt:lpstr>
      <vt:lpstr>How OAuth2 Works - Authorization Flow</vt:lpstr>
      <vt:lpstr>What OpenID Connect Adds to OAuth2</vt:lpstr>
      <vt:lpstr>OAuth2 vs OIDC Comparison</vt:lpstr>
      <vt:lpstr>PKCE - Enhanced Security </vt:lpstr>
      <vt:lpstr>Without PKCE</vt:lpstr>
      <vt:lpstr>OIDC with PKCE </vt:lpstr>
      <vt:lpstr>Q&amp;A?</vt:lpstr>
      <vt:lpstr>Thank You!</vt:lpstr>
      <vt:lpstr>Custom Show 1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py &amp; paste elements – master 2023</dc:title>
  <dc:subject/>
  <dc:creator>Antje Willmann</dc:creator>
  <cp:keywords/>
  <dc:description>Optimiert für Office 365</dc:description>
  <cp:lastModifiedBy>Nagaraju, Arun</cp:lastModifiedBy>
  <cp:revision>30</cp:revision>
  <cp:lastPrinted>2020-08-27T09:01:38Z</cp:lastPrinted>
  <dcterms:created xsi:type="dcterms:W3CDTF">2023-01-26T10:35:36Z</dcterms:created>
  <dcterms:modified xsi:type="dcterms:W3CDTF">2025-12-16T19:16:28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1B1CC657658D646BB6EB2FF7034CC42</vt:lpwstr>
  </property>
  <property fmtid="{D5CDD505-2E9C-101B-9397-08002B2CF9AE}" pid="3" name="MediaServiceImageTags">
    <vt:lpwstr/>
  </property>
</Properties>
</file>